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7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8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1" r:id="rId2"/>
    <p:sldMasterId id="2147483690" r:id="rId3"/>
    <p:sldMasterId id="2147483717" r:id="rId4"/>
    <p:sldMasterId id="2147483728" r:id="rId5"/>
    <p:sldMasterId id="2147483751" r:id="rId6"/>
    <p:sldMasterId id="2147483760" r:id="rId7"/>
    <p:sldMasterId id="2147483772" r:id="rId8"/>
  </p:sldMasterIdLst>
  <p:notesMasterIdLst>
    <p:notesMasterId r:id="rId24"/>
  </p:notesMasterIdLst>
  <p:sldIdLst>
    <p:sldId id="301" r:id="rId9"/>
    <p:sldId id="447" r:id="rId10"/>
    <p:sldId id="448" r:id="rId11"/>
    <p:sldId id="449" r:id="rId12"/>
    <p:sldId id="450" r:id="rId13"/>
    <p:sldId id="451" r:id="rId14"/>
    <p:sldId id="452" r:id="rId15"/>
    <p:sldId id="453" r:id="rId16"/>
    <p:sldId id="454" r:id="rId17"/>
    <p:sldId id="455" r:id="rId18"/>
    <p:sldId id="456" r:id="rId19"/>
    <p:sldId id="457" r:id="rId20"/>
    <p:sldId id="458" r:id="rId21"/>
    <p:sldId id="459" r:id="rId22"/>
    <p:sldId id="406" r:id="rId23"/>
  </p:sldIdLst>
  <p:sldSz cx="12192000" cy="6858000"/>
  <p:notesSz cx="6858000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FF9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918" autoAdjust="0"/>
  </p:normalViewPr>
  <p:slideViewPr>
    <p:cSldViewPr snapToGrid="0" showGuides="1">
      <p:cViewPr varScale="1">
        <p:scale>
          <a:sx n="107" d="100"/>
          <a:sy n="107" d="100"/>
        </p:scale>
        <p:origin x="78" y="288"/>
      </p:cViewPr>
      <p:guideLst>
        <p:guide orient="horz" pos="618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D52351-625D-406C-91FD-339185B1D4D3}" type="datetimeFigureOut">
              <a:rPr lang="ru-RU" smtClean="0"/>
              <a:pPr/>
              <a:t>08.07.202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0850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1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4" y="9428585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842EE6-DE3D-4672-970E-D8A329B1066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4603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8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NULL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NULL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0.sv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0.svg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0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0.svg"/><Relationship Id="rId5" Type="http://schemas.openxmlformats.org/officeDocument/2006/relationships/image" Target="../media/image14.png"/><Relationship Id="rId4" Type="http://schemas.openxmlformats.org/officeDocument/2006/relationships/image" Target="../media/image10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0.svg"/><Relationship Id="rId5" Type="http://schemas.openxmlformats.org/officeDocument/2006/relationships/image" Target="../media/image14.png"/><Relationship Id="rId4" Type="http://schemas.openxmlformats.org/officeDocument/2006/relationships/image" Target="../media/image10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0.svg"/><Relationship Id="rId4" Type="http://schemas.openxmlformats.org/officeDocument/2006/relationships/image" Target="../media/image1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png"/><Relationship Id="rId4" Type="http://schemas.openxmlformats.org/officeDocument/2006/relationships/image" Target="../media/image80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0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7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9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1.svg"/><Relationship Id="rId5" Type="http://schemas.openxmlformats.org/officeDocument/2006/relationships/image" Target="../media/image16.png"/><Relationship Id="rId4" Type="http://schemas.openxmlformats.org/officeDocument/2006/relationships/image" Target="../media/image10.png"/></Relationships>
</file>

<file path=ppt/slideLayouts/_rels/slideLayout5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2.svg"/><Relationship Id="rId4" Type="http://schemas.openxmlformats.org/officeDocument/2006/relationships/image" Target="../media/image13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0.svg"/><Relationship Id="rId4" Type="http://schemas.openxmlformats.org/officeDocument/2006/relationships/image" Target="../media/image17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00.svg"/><Relationship Id="rId4" Type="http://schemas.openxmlformats.org/officeDocument/2006/relationships/image" Target="../media/image1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00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0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16.png"/><Relationship Id="rId4" Type="http://schemas.openxmlformats.org/officeDocument/2006/relationships/image" Target="../media/image10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6" Type="http://schemas.openxmlformats.org/officeDocument/2006/relationships/image" Target="NULL"/><Relationship Id="rId5" Type="http://schemas.openxmlformats.org/officeDocument/2006/relationships/image" Target="../media/image16.png"/><Relationship Id="rId4" Type="http://schemas.openxmlformats.org/officeDocument/2006/relationships/image" Target="../media/image10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NULL"/><Relationship Id="rId4" Type="http://schemas.openxmlformats.org/officeDocument/2006/relationships/image" Target="../media/image16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png"/><Relationship Id="rId4" Type="http://schemas.openxmlformats.org/officeDocument/2006/relationships/image" Target="NUL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52.svg"/><Relationship Id="rId4" Type="http://schemas.openxmlformats.org/officeDocument/2006/relationships/image" Target="../media/image4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52.svg"/><Relationship Id="rId4" Type="http://schemas.openxmlformats.org/officeDocument/2006/relationships/image" Target="../media/image4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2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png"/><Relationship Id="rId4" Type="http://schemas.openxmlformats.org/officeDocument/2006/relationships/image" Target="../media/image71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4.png"/><Relationship Id="rId4" Type="http://schemas.openxmlformats.org/officeDocument/2006/relationships/image" Target="../media/image1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E38BDAC-3B43-4DC5-A7A6-2D8289D222D8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id="{503914FA-7A76-4387-BB11-93FA4D532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8" name="Рисунок 9">
            <a:extLst>
              <a:ext uri="{FF2B5EF4-FFF2-40B4-BE49-F238E27FC236}">
                <a16:creationId xmlns:a16="http://schemas.microsoft.com/office/drawing/2014/main" id="{81FC088D-D1AA-4942-A5CE-35DA68ADA5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A54A75DC-21B1-4DE7-B1C9-63860B4D53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18863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 userDrawn="1"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4FFE443-A806-4B0E-B29B-2FB0A67F4C84}"/>
              </a:ext>
            </a:extLst>
          </p:cNvPr>
          <p:cNvSpPr/>
          <p:nvPr userDrawn="1"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FD4E993C-AAE6-4DAE-BC68-1D26D25B34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230ABB-6F58-4234-9FBD-8AB41404948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1" y="0"/>
            <a:ext cx="6470589" cy="6858000"/>
          </a:xfrm>
          <a:prstGeom prst="rect">
            <a:avLst/>
          </a:prstGeom>
        </p:spPr>
      </p:pic>
      <p:pic>
        <p:nvPicPr>
          <p:cNvPr id="11" name="Graphic 8">
            <a:extLst>
              <a:ext uri="{FF2B5EF4-FFF2-40B4-BE49-F238E27FC236}">
                <a16:creationId xmlns:a16="http://schemas.microsoft.com/office/drawing/2014/main" id="{DF718007-AE6D-4DA1-AD07-FC02DD9B36A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405455" y="1480906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294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 userDrawn="1"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4FFE443-A806-4B0E-B29B-2FB0A67F4C84}"/>
              </a:ext>
            </a:extLst>
          </p:cNvPr>
          <p:cNvSpPr/>
          <p:nvPr userDrawn="1"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230ABB-6F58-4234-9FBD-8AB41404948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1" y="0"/>
            <a:ext cx="6470589" cy="6858000"/>
          </a:xfrm>
          <a:prstGeom prst="rect">
            <a:avLst/>
          </a:prstGeom>
        </p:spPr>
      </p:pic>
      <p:pic>
        <p:nvPicPr>
          <p:cNvPr id="11" name="Graphic 8">
            <a:extLst>
              <a:ext uri="{FF2B5EF4-FFF2-40B4-BE49-F238E27FC236}">
                <a16:creationId xmlns:a16="http://schemas.microsoft.com/office/drawing/2014/main" id="{DF718007-AE6D-4DA1-AD07-FC02DD9B36A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7405455" y="1480906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3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5593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 flip="none" rotWithShape="1"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487F540E-7226-4198-900C-EAE132E03E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8611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lum bright="13000" contrast="1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55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0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116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екст">
    <p:spTree>
      <p:nvGrpSpPr>
        <p:cNvPr id="1" name="Group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5" name="Shape 135"/>
          <p:cNvPicPr/>
          <p:nvPr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19798"/>
            <a:ext cx="12192001" cy="838198"/>
          </a:xfrm>
          <a:prstGeom prst="rect">
            <a:avLst/>
          </a:prstGeom>
        </p:spPr>
      </p:pic>
      <p:sp>
        <p:nvSpPr>
          <p:cNvPr id="136" name="Shape 136"/>
          <p:cNvSpPr txBox="1">
            <a:spLocks noGrp="1"/>
          </p:cNvSpPr>
          <p:nvPr>
            <p:ph type="sldNum" idx="12"/>
          </p:nvPr>
        </p:nvSpPr>
        <p:spPr>
          <a:xfrm>
            <a:off x="9448800" y="6492872"/>
            <a:ext cx="2743200" cy="365125"/>
          </a:xfrm>
          <a:prstGeom prst="rect">
            <a:avLst/>
          </a:prstGeom>
        </p:spPr>
        <p:txBody>
          <a:bodyPr/>
          <a:lstStyle>
            <a:defPPr/>
            <a:lvl1pPr lvl="0">
              <a:defRPr sz="1400" b="1">
                <a:solidFill>
                  <a:schemeClr val="bg2"/>
                </a:solidFill>
              </a:defRPr>
            </a:lvl1pPr>
          </a:lstStyle>
          <a:p>
            <a:r>
              <a:rPr>
                <a:solidFill>
                  <a:srgbClr val="FFFFFF"/>
                </a:solidFill>
              </a:rPr>
              <a:t>‹#›</a:t>
            </a:r>
          </a:p>
        </p:txBody>
      </p:sp>
      <p:sp>
        <p:nvSpPr>
          <p:cNvPr id="137" name="Shape 137"/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7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Shape 138"/>
          <p:cNvSpPr txBox="1">
            <a:spLocks noGrp="1"/>
          </p:cNvSpPr>
          <p:nvPr>
            <p:ph type="title" idx="2"/>
          </p:nvPr>
        </p:nvSpPr>
        <p:spPr>
          <a:xfrm>
            <a:off x="962025" y="3"/>
            <a:ext cx="10534651" cy="838199"/>
          </a:xfrm>
          <a:prstGeom prst="rect">
            <a:avLst/>
          </a:prstGeom>
        </p:spPr>
        <p:txBody>
          <a:bodyPr anchor="ctr">
            <a:normAutofit/>
          </a:bodyPr>
          <a:lstStyle>
            <a:defPPr/>
            <a:lvl1pPr lvl="0">
              <a:defRPr sz="2400" b="1">
                <a:solidFill>
                  <a:schemeClr val="tx2"/>
                </a:solidFill>
              </a:defRPr>
            </a:lvl1pPr>
          </a:lstStyle>
          <a:p>
            <a:r>
              <a:t>Click to edit Master title style</a:t>
            </a:r>
          </a:p>
        </p:txBody>
      </p:sp>
      <p:pic>
        <p:nvPicPr>
          <p:cNvPr id="140" name="Shape 140"/>
          <p:cNvPicPr/>
          <p:nvPr/>
        </p:nvPicPr>
        <p:blipFill>
          <a:blip r:embed="rId4" cstate="print"/>
          <a:srcRect b="18390"/>
          <a:stretch/>
        </p:blipFill>
        <p:spPr>
          <a:xfrm>
            <a:off x="175390" y="143258"/>
            <a:ext cx="611247" cy="551686"/>
          </a:xfrm>
          <a:prstGeom prst="rect">
            <a:avLst/>
          </a:prstGeom>
        </p:spPr>
      </p:pic>
      <p:pic>
        <p:nvPicPr>
          <p:cNvPr id="142" name="Shape 142"/>
          <p:cNvPicPr/>
          <p:nvPr/>
        </p:nvPicPr>
        <p:blipFill>
          <a:blip r:embed="rId5" cstate="print"/>
          <a:srcRect l="32346" b="88978"/>
          <a:stretch/>
        </p:blipFill>
        <p:spPr>
          <a:xfrm>
            <a:off x="-1" y="6219827"/>
            <a:ext cx="7011051" cy="655179"/>
          </a:xfrm>
          <a:prstGeom prst="rect">
            <a:avLst/>
          </a:prstGeom>
        </p:spPr>
      </p:pic>
      <p:pic>
        <p:nvPicPr>
          <p:cNvPr id="144" name="Shape 144"/>
          <p:cNvPicPr/>
          <p:nvPr/>
        </p:nvPicPr>
        <p:blipFill>
          <a:blip r:embed="rId5" cstate="print"/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6682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FDF5ABC-2F51-4348-936E-5C87AD6348D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 t="28115" b="686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 userDrawn="1"/>
        </p:nvSpPr>
        <p:spPr>
          <a:xfrm>
            <a:off x="0" y="1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7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2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4114802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8375" y="200441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030133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FDF5ABC-2F51-4348-936E-5C87AD6348D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5776245"/>
            <a:ext cx="12192000" cy="1081755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7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1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2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E3871F9-012E-4CA1-B5B3-003F9F793B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2024" y="1323975"/>
            <a:ext cx="10525125" cy="4895851"/>
          </a:xfrm>
        </p:spPr>
        <p:txBody>
          <a:bodyPr>
            <a:normAutofit/>
          </a:bodyPr>
          <a:lstStyle>
            <a:lvl1pPr marL="228594" indent="-228594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1pPr>
            <a:lvl2pPr marL="685783" indent="-228594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2pPr>
            <a:lvl3pPr marL="1142971" indent="-228594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3pPr>
            <a:lvl4pPr marL="1600160" indent="-228594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4pPr>
            <a:lvl5pPr marL="2057349" indent="-228594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B7282BB-B59B-48E2-AF8B-BEEF0562D3C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8375" y="200441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614277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E38BDAC-3B43-4DC5-A7A6-2D8289D222D8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id="{503914FA-7A76-4387-BB11-93FA4D532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8" name="Рисунок 9">
            <a:extLst>
              <a:ext uri="{FF2B5EF4-FFF2-40B4-BE49-F238E27FC236}">
                <a16:creationId xmlns:a16="http://schemas.microsoft.com/office/drawing/2014/main" id="{81FC088D-D1AA-4942-A5CE-35DA68ADA5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A54A75DC-21B1-4DE7-B1C9-63860B4D53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93136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4FFE443-A806-4B0E-B29B-2FB0A67F4C84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FD4E993C-AAE6-4DAE-BC68-1D26D25B34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10" name="Graphic 8">
            <a:extLst>
              <a:ext uri="{FF2B5EF4-FFF2-40B4-BE49-F238E27FC236}">
                <a16:creationId xmlns:a16="http://schemas.microsoft.com/office/drawing/2014/main" id="{E4A06F51-8D74-481D-B671-CAA8E6359B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2094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4FFE443-A806-4B0E-B29B-2FB0A67F4C84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FD4E993C-AAE6-4DAE-BC68-1D26D25B34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10" name="Graphic 8">
            <a:extLst>
              <a:ext uri="{FF2B5EF4-FFF2-40B4-BE49-F238E27FC236}">
                <a16:creationId xmlns:a16="http://schemas.microsoft.com/office/drawing/2014/main" id="{E4A06F51-8D74-481D-B671-CAA8E6359B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3286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4FFE443-A806-4B0E-B29B-2FB0A67F4C84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6FE73235-5A78-418C-86FB-FED6B63847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7701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1591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 flip="none" rotWithShape="1"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487F540E-7226-4198-900C-EAE132E03E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5" name="Рисунок 12">
            <a:extLst>
              <a:ext uri="{FF2B5EF4-FFF2-40B4-BE49-F238E27FC236}">
                <a16:creationId xmlns:a16="http://schemas.microsoft.com/office/drawing/2014/main" id="{28991428-DEAD-49C5-9871-D4F366D85D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7" name="Рисунок 12">
            <a:extLst>
              <a:ext uri="{FF2B5EF4-FFF2-40B4-BE49-F238E27FC236}">
                <a16:creationId xmlns:a16="http://schemas.microsoft.com/office/drawing/2014/main" id="{6DBEFEBA-79F5-4AB4-B4ED-302E7667F8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455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lum bright="13000" contrast="1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796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0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782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77BB4B3-8D47-430B-9B65-D995DD1AB3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93252"/>
            <a:ext cx="12192000" cy="108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561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E38BDAC-3B43-4DC5-A7A6-2D8289D222D8}"/>
              </a:ext>
            </a:extLst>
          </p:cNvPr>
          <p:cNvSpPr/>
          <p:nvPr/>
        </p:nvSpPr>
        <p:spPr>
          <a:xfrm>
            <a:off x="1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id="{503914FA-7A76-4387-BB11-93FA4D5325D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7" y="0"/>
            <a:ext cx="11556083" cy="6858000"/>
          </a:xfrm>
          <a:prstGeom prst="rect">
            <a:avLst/>
          </a:prstGeom>
        </p:spPr>
      </p:pic>
      <p:pic>
        <p:nvPicPr>
          <p:cNvPr id="8" name="Рисунок 9">
            <a:extLst>
              <a:ext uri="{FF2B5EF4-FFF2-40B4-BE49-F238E27FC236}">
                <a16:creationId xmlns:a16="http://schemas.microsoft.com/office/drawing/2014/main" id="{81FC088D-D1AA-4942-A5CE-35DA68ADA5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141DAEB-720D-48D1-A0EB-FBCF3243BD5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2" y="0"/>
            <a:ext cx="6470589" cy="6858000"/>
          </a:xfrm>
          <a:prstGeom prst="rect">
            <a:avLst/>
          </a:prstGeom>
        </p:spPr>
      </p:pic>
      <p:pic>
        <p:nvPicPr>
          <p:cNvPr id="10" name="Graphic 8">
            <a:extLst>
              <a:ext uri="{FF2B5EF4-FFF2-40B4-BE49-F238E27FC236}">
                <a16:creationId xmlns:a16="http://schemas.microsoft.com/office/drawing/2014/main" id="{0C8F999A-8D15-4F64-BDE2-FC3CF79544B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405455" y="1480907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999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4FFE443-A806-4B0E-B29B-2FB0A67F4C84}"/>
              </a:ext>
            </a:extLst>
          </p:cNvPr>
          <p:cNvSpPr/>
          <p:nvPr/>
        </p:nvSpPr>
        <p:spPr>
          <a:xfrm>
            <a:off x="1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7" y="0"/>
            <a:ext cx="11556083" cy="6858000"/>
          </a:xfrm>
          <a:prstGeom prst="rect">
            <a:avLst/>
          </a:prstGeom>
        </p:spPr>
      </p:pic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FD4E993C-AAE6-4DAE-BC68-1D26D25B34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230ABB-6F58-4234-9FBD-8AB41404948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2" y="0"/>
            <a:ext cx="6470589" cy="6858000"/>
          </a:xfrm>
          <a:prstGeom prst="rect">
            <a:avLst/>
          </a:prstGeom>
        </p:spPr>
      </p:pic>
      <p:pic>
        <p:nvPicPr>
          <p:cNvPr id="11" name="Graphic 8">
            <a:extLst>
              <a:ext uri="{FF2B5EF4-FFF2-40B4-BE49-F238E27FC236}">
                <a16:creationId xmlns:a16="http://schemas.microsoft.com/office/drawing/2014/main" id="{DF718007-AE6D-4DA1-AD07-FC02DD9B36A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405455" y="1480907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2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4FFE443-A806-4B0E-B29B-2FB0A67F4C84}"/>
              </a:ext>
            </a:extLst>
          </p:cNvPr>
          <p:cNvSpPr/>
          <p:nvPr/>
        </p:nvSpPr>
        <p:spPr>
          <a:xfrm>
            <a:off x="1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7" y="0"/>
            <a:ext cx="11556083" cy="685800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230ABB-6F58-4234-9FBD-8AB41404948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2" y="0"/>
            <a:ext cx="6470589" cy="6858000"/>
          </a:xfrm>
          <a:prstGeom prst="rect">
            <a:avLst/>
          </a:prstGeom>
        </p:spPr>
      </p:pic>
      <p:pic>
        <p:nvPicPr>
          <p:cNvPr id="11" name="Graphic 8">
            <a:extLst>
              <a:ext uri="{FF2B5EF4-FFF2-40B4-BE49-F238E27FC236}">
                <a16:creationId xmlns:a16="http://schemas.microsoft.com/office/drawing/2014/main" id="{DF718007-AE6D-4DA1-AD07-FC02DD9B36A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7405455" y="1480907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97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4FFE443-A806-4B0E-B29B-2FB0A67F4C84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6FE73235-5A78-418C-86FB-FED6B63847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51231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5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6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18390"/>
          <a:stretch/>
        </p:blipFill>
        <p:spPr>
          <a:xfrm>
            <a:off x="175392" y="143261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2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164137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 flip="none" rotWithShape="1"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2" y="806601"/>
            <a:ext cx="8735681" cy="604086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8375" y="200445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6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b="18390"/>
          <a:stretch/>
        </p:blipFill>
        <p:spPr>
          <a:xfrm>
            <a:off x="175392" y="143261"/>
            <a:ext cx="611247" cy="55168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487F540E-7226-4198-900C-EAE132E03E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124863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lum bright="13000" contrast="1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6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b="18390"/>
          <a:stretch/>
        </p:blipFill>
        <p:spPr>
          <a:xfrm>
            <a:off x="186894" y="143261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9"/>
            <a:ext cx="7011051" cy="65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145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21">
          <p15:clr>
            <a:srgbClr val="FBAE40"/>
          </p15:clr>
        </p15:guide>
        <p15:guide id="6" pos="22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1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6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b="18390"/>
          <a:stretch/>
        </p:blipFill>
        <p:spPr>
          <a:xfrm>
            <a:off x="175392" y="143261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78749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Пустой слайд с подвал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CC1A73-63C3-4376-B0A7-A4532D7510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F89B92AE-557D-452C-87E8-14E80D823F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1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466169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1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1"/>
                </a:solidFill>
              </a:defRPr>
            </a:lvl1pPr>
          </a:lstStyle>
          <a:p>
            <a:pPr marL="89518">
              <a:lnSpc>
                <a:spcPts val="1551"/>
              </a:lnSpc>
            </a:pPr>
            <a:fld id="{81D60167-4931-47E6-BA6A-407CBD079E47}" type="slidenum">
              <a:rPr lang="ru-RU" sz="1333" spc="-152" smtClean="0">
                <a:solidFill>
                  <a:srgbClr val="FFFFFF"/>
                </a:solidFill>
                <a:latin typeface="Arial Narrow"/>
                <a:cs typeface="Arial Narrow"/>
              </a:rPr>
              <a:pPr marL="89518">
                <a:lnSpc>
                  <a:spcPts val="1551"/>
                </a:lnSpc>
              </a:pPr>
              <a:t>‹#›</a:t>
            </a:fld>
            <a:endParaRPr lang="ru-RU" sz="1333" dirty="0"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8140609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8972DA-2EF8-4FD7-AD96-D7E0231A65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4685C9-9B1B-4819-BFB3-DD4E95184C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B45668-B320-4E0E-BE03-8EE48BC530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D6C2E-9420-4792-85C7-0D616A09CD09}" type="datetimeFigureOut">
              <a:rPr lang="ru-RU" smtClean="0"/>
              <a:pPr/>
              <a:t>08.07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067E5F-E94B-4B53-9DC2-18741F62C0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C57820-CE3C-4BE8-80C2-36F58EB4A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0CC40D-D362-4843-8B95-85F4F21E40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68677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77BB4B3-8D47-430B-9B65-D995DD1AB38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93252"/>
            <a:ext cx="12192000" cy="108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295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3505612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934520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1075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5715496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5432704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8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0628056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8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6436755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8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3093876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4885769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7/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4841050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333017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F4D39C9-8829-44E1-A668-BAE11A76C2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115267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F74E996-E2D0-4A08-BA18-36DF41474E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104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 flip="none" rotWithShape="1"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487F540E-7226-4198-900C-EAE132E03E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8662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77BB4B3-8D47-430B-9B65-D995DD1AB38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93252"/>
            <a:ext cx="12192000" cy="108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295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998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731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641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8B94B9C-5495-4FF8-A743-435C40BFF9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93252"/>
            <a:ext cx="12192000" cy="1081753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3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E3871F9-012E-4CA1-B5B3-003F9F793B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2024" y="1323976"/>
            <a:ext cx="10525125" cy="4895851"/>
          </a:xfrm>
        </p:spPr>
        <p:txBody>
          <a:bodyPr>
            <a:normAutofit/>
          </a:bodyPr>
          <a:lstStyle>
            <a:lvl1pPr marL="228589" indent="-228589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1pPr>
            <a:lvl2pPr marL="685766" indent="-228589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2pPr>
            <a:lvl3pPr marL="1142942" indent="-228589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3pPr>
            <a:lvl4pPr marL="1600120" indent="-228589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4pPr>
            <a:lvl5pPr marL="2057298" indent="-228589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672061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 userDrawn="1"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4FFE443-A806-4B0E-B29B-2FB0A67F4C84}"/>
              </a:ext>
            </a:extLst>
          </p:cNvPr>
          <p:cNvSpPr/>
          <p:nvPr userDrawn="1"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FD4E993C-AAE6-4DAE-BC68-1D26D25B34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230ABB-6F58-4234-9FBD-8AB41404948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1" y="0"/>
            <a:ext cx="6470589" cy="6858000"/>
          </a:xfrm>
          <a:prstGeom prst="rect">
            <a:avLst/>
          </a:prstGeom>
        </p:spPr>
      </p:pic>
      <p:pic>
        <p:nvPicPr>
          <p:cNvPr id="11" name="Graphic 8">
            <a:extLst>
              <a:ext uri="{FF2B5EF4-FFF2-40B4-BE49-F238E27FC236}">
                <a16:creationId xmlns:a16="http://schemas.microsoft.com/office/drawing/2014/main" id="{DF718007-AE6D-4DA1-AD07-FC02DD9B36A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405455" y="1480906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321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FDF5ABC-2F51-4348-936E-5C87AD6348D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 t="28115" b="686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 userDrawn="1"/>
        </p:nvSpPr>
        <p:spPr>
          <a:xfrm>
            <a:off x="0" y="1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7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2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5" y="4114802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8375" y="200441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45439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lum bright="13000" contrast="1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126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E38BDAC-3B43-4DC5-A7A6-2D8289D222D8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id="{503914FA-7A76-4387-BB11-93FA4D532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8" name="Рисунок 9">
            <a:extLst>
              <a:ext uri="{FF2B5EF4-FFF2-40B4-BE49-F238E27FC236}">
                <a16:creationId xmlns:a16="http://schemas.microsoft.com/office/drawing/2014/main" id="{81FC088D-D1AA-4942-A5CE-35DA68ADA5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A54A75DC-21B1-4DE7-B1C9-63860B4D53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26225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4FFE443-A806-4B0E-B29B-2FB0A67F4C84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FD4E993C-AAE6-4DAE-BC68-1D26D25B34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10" name="Graphic 8">
            <a:extLst>
              <a:ext uri="{FF2B5EF4-FFF2-40B4-BE49-F238E27FC236}">
                <a16:creationId xmlns:a16="http://schemas.microsoft.com/office/drawing/2014/main" id="{E4A06F51-8D74-481D-B671-CAA8E6359B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11777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lum bright="13000" contrast="1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991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4FFE443-A806-4B0E-B29B-2FB0A67F4C84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6FE73235-5A78-418C-86FB-FED6B63847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23805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1773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 flip="none" rotWithShape="1"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487F540E-7226-4198-900C-EAE132E03E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5" name="Рисунок 12">
            <a:extLst>
              <a:ext uri="{FF2B5EF4-FFF2-40B4-BE49-F238E27FC236}">
                <a16:creationId xmlns:a16="http://schemas.microsoft.com/office/drawing/2014/main" id="{28991428-DEAD-49C5-9871-D4F366D85D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7" name="Рисунок 12">
            <a:extLst>
              <a:ext uri="{FF2B5EF4-FFF2-40B4-BE49-F238E27FC236}">
                <a16:creationId xmlns:a16="http://schemas.microsoft.com/office/drawing/2014/main" id="{6DBEFEBA-79F5-4AB4-B4ED-302E7667F8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645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lum bright="13000" contrast="15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216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0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244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77BB4B3-8D47-430B-9B65-D995DD1AB3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93252"/>
            <a:ext cx="12192000" cy="108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379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E38BDAC-3B43-4DC5-A7A6-2D8289D222D8}"/>
              </a:ext>
            </a:extLst>
          </p:cNvPr>
          <p:cNvSpPr/>
          <p:nvPr userDrawn="1"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id="{503914FA-7A76-4387-BB11-93FA4D532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8" name="Рисунок 9">
            <a:extLst>
              <a:ext uri="{FF2B5EF4-FFF2-40B4-BE49-F238E27FC236}">
                <a16:creationId xmlns:a16="http://schemas.microsoft.com/office/drawing/2014/main" id="{81FC088D-D1AA-4942-A5CE-35DA68ADA5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141DAEB-720D-48D1-A0EB-FBCF3243BD5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1" y="0"/>
            <a:ext cx="6470589" cy="6858000"/>
          </a:xfrm>
          <a:prstGeom prst="rect">
            <a:avLst/>
          </a:prstGeom>
        </p:spPr>
      </p:pic>
      <p:pic>
        <p:nvPicPr>
          <p:cNvPr id="10" name="Graphic 8">
            <a:extLst>
              <a:ext uri="{FF2B5EF4-FFF2-40B4-BE49-F238E27FC236}">
                <a16:creationId xmlns:a16="http://schemas.microsoft.com/office/drawing/2014/main" id="{0C8F999A-8D15-4F64-BDE2-FC3CF79544B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405455" y="1480906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859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 userDrawn="1"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4FFE443-A806-4B0E-B29B-2FB0A67F4C84}"/>
              </a:ext>
            </a:extLst>
          </p:cNvPr>
          <p:cNvSpPr/>
          <p:nvPr userDrawn="1"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FD4E993C-AAE6-4DAE-BC68-1D26D25B34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230ABB-6F58-4234-9FBD-8AB41404948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1" y="0"/>
            <a:ext cx="6470589" cy="6858000"/>
          </a:xfrm>
          <a:prstGeom prst="rect">
            <a:avLst/>
          </a:prstGeom>
        </p:spPr>
      </p:pic>
      <p:pic>
        <p:nvPicPr>
          <p:cNvPr id="11" name="Graphic 8">
            <a:extLst>
              <a:ext uri="{FF2B5EF4-FFF2-40B4-BE49-F238E27FC236}">
                <a16:creationId xmlns:a16="http://schemas.microsoft.com/office/drawing/2014/main" id="{DF718007-AE6D-4DA1-AD07-FC02DD9B36A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405455" y="1480906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26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 userDrawn="1"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4FFE443-A806-4B0E-B29B-2FB0A67F4C84}"/>
              </a:ext>
            </a:extLst>
          </p:cNvPr>
          <p:cNvSpPr/>
          <p:nvPr userDrawn="1"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230ABB-6F58-4234-9FBD-8AB41404948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1" y="0"/>
            <a:ext cx="6470589" cy="6858000"/>
          </a:xfrm>
          <a:prstGeom prst="rect">
            <a:avLst/>
          </a:prstGeom>
        </p:spPr>
      </p:pic>
      <p:pic>
        <p:nvPicPr>
          <p:cNvPr id="11" name="Graphic 8">
            <a:extLst>
              <a:ext uri="{FF2B5EF4-FFF2-40B4-BE49-F238E27FC236}">
                <a16:creationId xmlns:a16="http://schemas.microsoft.com/office/drawing/2014/main" id="{DF718007-AE6D-4DA1-AD07-FC02DD9B36A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405455" y="1480906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741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4682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0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455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 flip="none" rotWithShape="1"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487F540E-7226-4198-900C-EAE132E03E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4986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lum bright="13000" contrast="15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144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0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183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екст">
    <p:spTree>
      <p:nvGrpSpPr>
        <p:cNvPr id="1" name="Group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5" name="Shape 135"/>
          <p:cNvPicPr/>
          <p:nvPr/>
        </p:nvPicPr>
        <p:blipFill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15689"/>
          <a:stretch/>
        </p:blipFill>
        <p:spPr>
          <a:xfrm>
            <a:off x="-1" y="6019798"/>
            <a:ext cx="12192001" cy="838198"/>
          </a:xfrm>
          <a:prstGeom prst="rect">
            <a:avLst/>
          </a:prstGeom>
        </p:spPr>
      </p:pic>
      <p:sp>
        <p:nvSpPr>
          <p:cNvPr id="136" name="Shape 136"/>
          <p:cNvSpPr txBox="1">
            <a:spLocks noGrp="1"/>
          </p:cNvSpPr>
          <p:nvPr>
            <p:ph type="sldNum" idx="12"/>
          </p:nvPr>
        </p:nvSpPr>
        <p:spPr>
          <a:xfrm>
            <a:off x="9448800" y="6492872"/>
            <a:ext cx="2743200" cy="365125"/>
          </a:xfrm>
          <a:prstGeom prst="rect">
            <a:avLst/>
          </a:prstGeom>
        </p:spPr>
        <p:txBody>
          <a:bodyPr/>
          <a:lstStyle>
            <a:defPPr/>
            <a:lvl1pPr lvl="0">
              <a:defRPr sz="1400" b="1">
                <a:solidFill>
                  <a:schemeClr val="bg2"/>
                </a:solidFill>
              </a:defRPr>
            </a:lvl1pPr>
          </a:lstStyle>
          <a:p>
            <a:r>
              <a:rPr>
                <a:solidFill>
                  <a:srgbClr val="FFFFFF"/>
                </a:solidFill>
              </a:rPr>
              <a:t>‹#›</a:t>
            </a:r>
          </a:p>
        </p:txBody>
      </p:sp>
      <p:sp>
        <p:nvSpPr>
          <p:cNvPr id="137" name="Shape 137"/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91440" tIns="45720" rIns="91440" bIns="45720" anchor="ctr"/>
          <a:lstStyle/>
          <a:p>
            <a:pPr marL="0" indent="0" algn="ctr"/>
            <a:endParaRPr sz="7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8" name="Shape 138"/>
          <p:cNvSpPr txBox="1">
            <a:spLocks noGrp="1"/>
          </p:cNvSpPr>
          <p:nvPr>
            <p:ph type="title" idx="2"/>
          </p:nvPr>
        </p:nvSpPr>
        <p:spPr>
          <a:xfrm>
            <a:off x="962025" y="3"/>
            <a:ext cx="10534651" cy="838199"/>
          </a:xfrm>
          <a:prstGeom prst="rect">
            <a:avLst/>
          </a:prstGeom>
        </p:spPr>
        <p:txBody>
          <a:bodyPr anchor="ctr">
            <a:normAutofit/>
          </a:bodyPr>
          <a:lstStyle>
            <a:defPPr/>
            <a:lvl1pPr lvl="0">
              <a:defRPr sz="2400" b="1">
                <a:solidFill>
                  <a:schemeClr val="tx2"/>
                </a:solidFill>
              </a:defRPr>
            </a:lvl1pPr>
          </a:lstStyle>
          <a:p>
            <a:r>
              <a:t>Click to edit Master title style</a:t>
            </a:r>
          </a:p>
        </p:txBody>
      </p:sp>
      <p:pic>
        <p:nvPicPr>
          <p:cNvPr id="140" name="Shape 140"/>
          <p:cNvPicPr/>
          <p:nvPr/>
        </p:nvPicPr>
        <p:blipFill>
          <a:blip r:embed="rId4" cstate="print"/>
          <a:srcRect b="18390"/>
          <a:stretch/>
        </p:blipFill>
        <p:spPr>
          <a:xfrm>
            <a:off x="175390" y="143258"/>
            <a:ext cx="611247" cy="551686"/>
          </a:xfrm>
          <a:prstGeom prst="rect">
            <a:avLst/>
          </a:prstGeom>
        </p:spPr>
      </p:pic>
      <p:pic>
        <p:nvPicPr>
          <p:cNvPr id="142" name="Shape 142"/>
          <p:cNvPicPr/>
          <p:nvPr/>
        </p:nvPicPr>
        <p:blipFill>
          <a:blip r:embed="rId5" cstate="print"/>
          <a:srcRect l="32346" b="88978"/>
          <a:stretch/>
        </p:blipFill>
        <p:spPr>
          <a:xfrm>
            <a:off x="-1" y="6219827"/>
            <a:ext cx="7011051" cy="655179"/>
          </a:xfrm>
          <a:prstGeom prst="rect">
            <a:avLst/>
          </a:prstGeom>
        </p:spPr>
      </p:pic>
      <p:pic>
        <p:nvPicPr>
          <p:cNvPr id="144" name="Shape 144"/>
          <p:cNvPicPr/>
          <p:nvPr/>
        </p:nvPicPr>
        <p:blipFill>
          <a:blip r:embed="rId5" cstate="print"/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86611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D730E-4FF1-4F1B-8F20-5A4AABB0EE14}" type="datetime1">
              <a:rPr lang="ru-RU" smtClean="0"/>
              <a:pPr/>
              <a:t>08.07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844BF3-3CCC-724F-86E6-470E5984A0E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998647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E38BDAC-3B43-4DC5-A7A6-2D8289D222D8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id="{503914FA-7A76-4387-BB11-93FA4D532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8" name="Рисунок 9">
            <a:extLst>
              <a:ext uri="{FF2B5EF4-FFF2-40B4-BE49-F238E27FC236}">
                <a16:creationId xmlns:a16="http://schemas.microsoft.com/office/drawing/2014/main" id="{81FC088D-D1AA-4942-A5CE-35DA68ADA5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A54A75DC-21B1-4DE7-B1C9-63860B4D53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94799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4FFE443-A806-4B0E-B29B-2FB0A67F4C84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FD4E993C-AAE6-4DAE-BC68-1D26D25B34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10" name="Graphic 8">
            <a:extLst>
              <a:ext uri="{FF2B5EF4-FFF2-40B4-BE49-F238E27FC236}">
                <a16:creationId xmlns:a16="http://schemas.microsoft.com/office/drawing/2014/main" id="{E4A06F51-8D74-481D-B671-CAA8E6359B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6064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4FFE443-A806-4B0E-B29B-2FB0A67F4C84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6FE73235-5A78-418C-86FB-FED6B638473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6910729" y="1062380"/>
            <a:ext cx="4848652" cy="4848652"/>
          </a:xfrm>
          <a:prstGeom prst="rect">
            <a:avLst/>
          </a:prstGeom>
          <a:effectLst>
            <a:glow>
              <a:schemeClr val="bg1"/>
            </a:glow>
            <a:outerShdw blurRad="342900" dist="38100" dir="2700000" algn="tl" rotWithShape="0">
              <a:schemeClr val="tx2">
                <a:lumMod val="75000"/>
                <a:alpha val="81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728116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2278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 flip="none" rotWithShape="1"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487F540E-7226-4198-900C-EAE132E03E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9674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77BB4B3-8D47-430B-9B65-D995DD1AB38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93252"/>
            <a:ext cx="12192000" cy="108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063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lum bright="13000" contrast="1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433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0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279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77BB4B3-8D47-430B-9B65-D995DD1AB38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93252"/>
            <a:ext cx="12192000" cy="108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203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E38BDAC-3B43-4DC5-A7A6-2D8289D222D8}"/>
              </a:ext>
            </a:extLst>
          </p:cNvPr>
          <p:cNvSpPr/>
          <p:nvPr userDrawn="1"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id="{503914FA-7A76-4387-BB11-93FA4D532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8" name="Рисунок 9">
            <a:extLst>
              <a:ext uri="{FF2B5EF4-FFF2-40B4-BE49-F238E27FC236}">
                <a16:creationId xmlns:a16="http://schemas.microsoft.com/office/drawing/2014/main" id="{81FC088D-D1AA-4942-A5CE-35DA68ADA5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141DAEB-720D-48D1-A0EB-FBCF3243BD5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1" y="0"/>
            <a:ext cx="6470589" cy="6858000"/>
          </a:xfrm>
          <a:prstGeom prst="rect">
            <a:avLst/>
          </a:prstGeom>
        </p:spPr>
      </p:pic>
      <p:pic>
        <p:nvPicPr>
          <p:cNvPr id="10" name="Graphic 8">
            <a:extLst>
              <a:ext uri="{FF2B5EF4-FFF2-40B4-BE49-F238E27FC236}">
                <a16:creationId xmlns:a16="http://schemas.microsoft.com/office/drawing/2014/main" id="{0C8F999A-8D15-4F64-BDE2-FC3CF79544B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405455" y="1480906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305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ags" Target="../tags/tag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vmlDrawing" Target="../drawings/vmlDrawing2.v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8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18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ags" Target="../tags/tag10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23.xml"/><Relationship Id="rId15" Type="http://schemas.openxmlformats.org/officeDocument/2006/relationships/oleObject" Target="../embeddings/oleObject5.bin"/><Relationship Id="rId10" Type="http://schemas.openxmlformats.org/officeDocument/2006/relationships/vmlDrawing" Target="../drawings/vmlDrawing3.v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Relationship Id="rId14" Type="http://schemas.openxmlformats.org/officeDocument/2006/relationships/tags" Target="../tags/tag1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vmlDrawing" Target="../drawings/vmlDrawing4.vml"/><Relationship Id="rId18" Type="http://schemas.openxmlformats.org/officeDocument/2006/relationships/oleObject" Target="../embeddings/oleObject7.bin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17" Type="http://schemas.openxmlformats.org/officeDocument/2006/relationships/tags" Target="../tags/tag16.xml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15.xml"/><Relationship Id="rId20" Type="http://schemas.openxmlformats.org/officeDocument/2006/relationships/oleObject" Target="../embeddings/oleObject8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ags" Target="../tags/tag14.xml"/><Relationship Id="rId10" Type="http://schemas.openxmlformats.org/officeDocument/2006/relationships/slideLayout" Target="../slideLayouts/slideLayout3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ags" Target="../tags/tag1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0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tags" Target="../tags/tag19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ags" Target="../tags/tag18.xml"/><Relationship Id="rId17" Type="http://schemas.openxmlformats.org/officeDocument/2006/relationships/oleObject" Target="../embeddings/oleObject10.bin"/><Relationship Id="rId2" Type="http://schemas.openxmlformats.org/officeDocument/2006/relationships/slideLayout" Target="../slideLayouts/slideLayout5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62.xml"/><Relationship Id="rId15" Type="http://schemas.openxmlformats.org/officeDocument/2006/relationships/oleObject" Target="../embeddings/oleObject9.bin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61.xml"/><Relationship Id="rId9" Type="http://schemas.openxmlformats.org/officeDocument/2006/relationships/theme" Target="../theme/theme6.xml"/><Relationship Id="rId14" Type="http://schemas.openxmlformats.org/officeDocument/2006/relationships/tags" Target="../tags/tag2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ags" Target="../tags/tag22.xml"/><Relationship Id="rId18" Type="http://schemas.openxmlformats.org/officeDocument/2006/relationships/oleObject" Target="../embeddings/oleObject12.bin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tags" Target="../tags/tag2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67.xml"/><Relationship Id="rId16" Type="http://schemas.openxmlformats.org/officeDocument/2006/relationships/oleObject" Target="../embeddings/oleObject11.bin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vmlDrawing" Target="../drawings/vmlDrawing6.vml"/><Relationship Id="rId5" Type="http://schemas.openxmlformats.org/officeDocument/2006/relationships/slideLayout" Target="../slideLayouts/slideLayout70.xml"/><Relationship Id="rId15" Type="http://schemas.openxmlformats.org/officeDocument/2006/relationships/tags" Target="../tags/tag24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tags" Target="../tags/tag2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tags" Target="../tags/tag2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ags" Target="../tags/tag26.xml"/><Relationship Id="rId17" Type="http://schemas.openxmlformats.org/officeDocument/2006/relationships/oleObject" Target="../embeddings/oleObject14.bin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tags" Target="../tags/tag25.xml"/><Relationship Id="rId5" Type="http://schemas.openxmlformats.org/officeDocument/2006/relationships/slideLayout" Target="../slideLayouts/slideLayout79.xml"/><Relationship Id="rId15" Type="http://schemas.openxmlformats.org/officeDocument/2006/relationships/oleObject" Target="../embeddings/oleObject13.bin"/><Relationship Id="rId10" Type="http://schemas.openxmlformats.org/officeDocument/2006/relationships/vmlDrawing" Target="../drawings/vmlDrawing7.vml"/><Relationship Id="rId4" Type="http://schemas.openxmlformats.org/officeDocument/2006/relationships/slideLayout" Target="../slideLayouts/slideLayout78.xml"/><Relationship Id="rId9" Type="http://schemas.openxmlformats.org/officeDocument/2006/relationships/theme" Target="../theme/theme8.xml"/><Relationship Id="rId14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9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7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9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9802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80" r:id="rId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0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8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1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8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2590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770" r:id="rId9"/>
    <p:sldLayoutId id="2147483771" r:id="rId1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6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8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7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8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3625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6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8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" y="2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7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8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" y="2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146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81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78" indent="-228578" algn="l" defTabSz="914309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4" indent="-228578" algn="l" defTabSz="914309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8" algn="l" defTabSz="914309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8" algn="l" defTabSz="914309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914309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4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pPr/>
              <a:t>7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5019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8" r:id="rId19"/>
    <p:sldLayoutId id="2147483793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82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6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83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6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3799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6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6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7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6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3696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0DBE21CA-A3FE-4309-958A-99CD00563680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6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6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7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6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7333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9.emf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B436E1-75B9-494C-A8E2-2C1DA0749C8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140942" y="2123558"/>
            <a:ext cx="6466397" cy="2614707"/>
          </a:xfrm>
        </p:spPr>
        <p:txBody>
          <a:bodyPr>
            <a:noAutofit/>
          </a:bodyPr>
          <a:lstStyle/>
          <a:p>
            <a:pPr algn="ctr"/>
            <a:r>
              <a:rPr lang="ru-R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b="1" dirty="0" smtClean="0">
                <a:solidFill>
                  <a:srgbClr val="008CFF"/>
                </a:solidFill>
              </a:rPr>
              <a:t>Перечень садоводческих некоммерческих </a:t>
            </a:r>
            <a:r>
              <a:rPr lang="ru-RU" sz="2400" b="1" dirty="0" smtClean="0">
                <a:solidFill>
                  <a:srgbClr val="008CFF"/>
                </a:solidFill>
              </a:rPr>
              <a:t>товариществ</a:t>
            </a:r>
            <a:r>
              <a:rPr lang="ru-RU" sz="2400" b="1" dirty="0">
                <a:solidFill>
                  <a:srgbClr val="008CFF"/>
                </a:solidFill>
              </a:rPr>
              <a:t>,</a:t>
            </a:r>
            <a:r>
              <a:rPr lang="ru-RU" sz="2400" b="1" dirty="0" smtClean="0">
                <a:solidFill>
                  <a:srgbClr val="008CFF"/>
                </a:solidFill>
              </a:rPr>
              <a:t> </a:t>
            </a:r>
            <a:r>
              <a:rPr lang="ru-RU" sz="2400" b="1" dirty="0" smtClean="0">
                <a:solidFill>
                  <a:srgbClr val="008CFF"/>
                </a:solidFill>
              </a:rPr>
              <a:t>расположенных в </a:t>
            </a:r>
            <a:r>
              <a:rPr lang="ru-RU" sz="2400" b="1" dirty="0" smtClean="0">
                <a:solidFill>
                  <a:srgbClr val="008CFF"/>
                </a:solidFill>
              </a:rPr>
              <a:t>границах населенных пунктов Тверской области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/>
          <p:nvPr/>
        </p:nvPicPr>
        <p:blipFill rotWithShape="1">
          <a:blip r:embed="rId2" cstate="print"/>
          <a:srcRect l="10947" t="6" r="73336" b="94914"/>
          <a:stretch/>
        </p:blipFill>
        <p:spPr bwMode="auto">
          <a:xfrm>
            <a:off x="1175756" y="638355"/>
            <a:ext cx="1722720" cy="41223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1217833" y="638355"/>
            <a:ext cx="2000495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Управление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Федеральной 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службы государственной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регистрации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, кадастра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и 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картографии </a:t>
            </a: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+mn-cs"/>
            </a:endParaRPr>
          </a:p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по Тверской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области</a:t>
            </a:r>
          </a:p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+mn-cs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A04FAC2-C35A-44D1-7A98-DCB9C482F2F9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97090" y="2123558"/>
            <a:ext cx="2592785" cy="2502130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14672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13528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EBC476-9252-C343-9FCE-489A77E2EA66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Лихославльский </a:t>
            </a:r>
            <a:r>
              <a:rPr lang="ru-RU" dirty="0"/>
              <a:t>муниципальный округ</a:t>
            </a:r>
          </a:p>
        </p:txBody>
      </p:sp>
      <p:sp>
        <p:nvSpPr>
          <p:cNvPr id="30" name="Овал 29"/>
          <p:cNvSpPr/>
          <p:nvPr/>
        </p:nvSpPr>
        <p:spPr>
          <a:xfrm>
            <a:off x="4045269" y="1594963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Овал 36"/>
          <p:cNvSpPr/>
          <p:nvPr/>
        </p:nvSpPr>
        <p:spPr>
          <a:xfrm>
            <a:off x="2062543" y="2955839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7"/>
          <p:cNvSpPr txBox="1"/>
          <p:nvPr/>
        </p:nvSpPr>
        <p:spPr>
          <a:xfrm>
            <a:off x="1817316" y="2955839"/>
            <a:ext cx="6151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1</a:t>
            </a:r>
          </a:p>
          <a:p>
            <a:endParaRPr lang="ru-RU" sz="1600" b="1" dirty="0"/>
          </a:p>
        </p:txBody>
      </p:sp>
      <p:sp>
        <p:nvSpPr>
          <p:cNvPr id="39" name="Овал 38"/>
          <p:cNvSpPr/>
          <p:nvPr/>
        </p:nvSpPr>
        <p:spPr>
          <a:xfrm>
            <a:off x="2000197" y="2778472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Овал 41"/>
          <p:cNvSpPr/>
          <p:nvPr/>
        </p:nvSpPr>
        <p:spPr>
          <a:xfrm>
            <a:off x="3344600" y="231604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3" name="Таблица 42"/>
          <p:cNvGraphicFramePr>
            <a:graphicFrameLocks noGrp="1"/>
          </p:cNvGraphicFramePr>
          <p:nvPr>
            <p:extLst/>
          </p:nvPr>
        </p:nvGraphicFramePr>
        <p:xfrm>
          <a:off x="7455532" y="1240672"/>
          <a:ext cx="4597132" cy="5252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0509">
                  <a:extLst>
                    <a:ext uri="{9D8B030D-6E8A-4147-A177-3AD203B41FA5}">
                      <a16:colId xmlns:a16="http://schemas.microsoft.com/office/drawing/2014/main" val="3446441887"/>
                    </a:ext>
                  </a:extLst>
                </a:gridCol>
                <a:gridCol w="2021857">
                  <a:extLst>
                    <a:ext uri="{9D8B030D-6E8A-4147-A177-3AD203B41FA5}">
                      <a16:colId xmlns:a16="http://schemas.microsoft.com/office/drawing/2014/main" val="3727426321"/>
                    </a:ext>
                  </a:extLst>
                </a:gridCol>
                <a:gridCol w="2034766">
                  <a:extLst>
                    <a:ext uri="{9D8B030D-6E8A-4147-A177-3AD203B41FA5}">
                      <a16:colId xmlns:a16="http://schemas.microsoft.com/office/drawing/2014/main" val="2457723088"/>
                    </a:ext>
                  </a:extLst>
                </a:gridCol>
              </a:tblGrid>
              <a:tr h="21528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№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азвание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вартал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4295734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ветотехника №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78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2138169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ветотехника №2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32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06441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ветотехника №3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50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9563922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ветотехника №3А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51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9415480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5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ветотехника №4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58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50959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ветотехника №5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59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9560464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7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ветотехника №6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6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6842004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8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ветотехника №7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7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3143781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9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ветотехника №8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73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8966002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Радиаторный з-д №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45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719174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Радиаторный з-д №2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55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1371592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2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Радиаторный з-д №3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54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7194452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3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Радиаторный з-д №4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69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7087217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4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Радиаторный з-д №5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72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0802752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5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Радиаторный з-д №6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43, 69:19:0070174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617510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6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Весна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56, 69:19:0070157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6016865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7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/т АТП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64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7303328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8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ерчаточная фабрика №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6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5653010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9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Дружба (упр. с/х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63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6048223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Узел связи №1 (РУС № 1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66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1574957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З-д Стеклоизделий №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62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1255211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2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З-д Стеклоизделий №2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7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063671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3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ПТУ-43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65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973320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4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МК-343 №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49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822087"/>
                  </a:ext>
                </a:extLst>
              </a:tr>
              <a:tr h="3352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5-26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МК-343 №2 (Тверь)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МК-16 №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67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68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7658461"/>
                  </a:ext>
                </a:extLst>
              </a:tr>
              <a:tr h="1877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7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Автодорстрой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9:0070153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0628528"/>
                  </a:ext>
                </a:extLst>
              </a:tr>
            </a:tbl>
          </a:graphicData>
        </a:graphic>
      </p:graphicFrame>
      <p:sp>
        <p:nvSpPr>
          <p:cNvPr id="45" name="TextBox 44"/>
          <p:cNvSpPr txBox="1"/>
          <p:nvPr/>
        </p:nvSpPr>
        <p:spPr>
          <a:xfrm>
            <a:off x="3344600" y="2085998"/>
            <a:ext cx="4302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3</a:t>
            </a:r>
          </a:p>
          <a:p>
            <a:endParaRPr lang="ru-RU" sz="1600" b="1" dirty="0"/>
          </a:p>
        </p:txBody>
      </p:sp>
      <p:sp>
        <p:nvSpPr>
          <p:cNvPr id="48" name="TextBox 47"/>
          <p:cNvSpPr txBox="1"/>
          <p:nvPr/>
        </p:nvSpPr>
        <p:spPr>
          <a:xfrm>
            <a:off x="1747645" y="2725796"/>
            <a:ext cx="6151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</a:t>
            </a:r>
          </a:p>
          <a:p>
            <a:endParaRPr lang="ru-RU" sz="1600" b="1" dirty="0"/>
          </a:p>
        </p:txBody>
      </p:sp>
      <p:sp>
        <p:nvSpPr>
          <p:cNvPr id="50" name="Овал 49"/>
          <p:cNvSpPr/>
          <p:nvPr/>
        </p:nvSpPr>
        <p:spPr>
          <a:xfrm>
            <a:off x="4045268" y="1634449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TextBox 50"/>
          <p:cNvSpPr txBox="1"/>
          <p:nvPr/>
        </p:nvSpPr>
        <p:spPr>
          <a:xfrm>
            <a:off x="3836041" y="1622542"/>
            <a:ext cx="4302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4</a:t>
            </a:r>
          </a:p>
          <a:p>
            <a:endParaRPr lang="ru-RU" sz="1600" b="1" dirty="0"/>
          </a:p>
        </p:txBody>
      </p:sp>
      <p:sp>
        <p:nvSpPr>
          <p:cNvPr id="52" name="Овал 51"/>
          <p:cNvSpPr/>
          <p:nvPr/>
        </p:nvSpPr>
        <p:spPr>
          <a:xfrm>
            <a:off x="3493172" y="2440732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TextBox 53"/>
          <p:cNvSpPr txBox="1"/>
          <p:nvPr/>
        </p:nvSpPr>
        <p:spPr>
          <a:xfrm>
            <a:off x="3583627" y="2371064"/>
            <a:ext cx="4302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5</a:t>
            </a:r>
          </a:p>
          <a:p>
            <a:endParaRPr lang="ru-RU" sz="1600" b="1" dirty="0"/>
          </a:p>
        </p:txBody>
      </p:sp>
      <p:sp>
        <p:nvSpPr>
          <p:cNvPr id="55" name="Овал 54"/>
          <p:cNvSpPr/>
          <p:nvPr/>
        </p:nvSpPr>
        <p:spPr>
          <a:xfrm>
            <a:off x="4536741" y="1632962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TextBox 55"/>
          <p:cNvSpPr txBox="1"/>
          <p:nvPr/>
        </p:nvSpPr>
        <p:spPr>
          <a:xfrm>
            <a:off x="4615180" y="1494996"/>
            <a:ext cx="3060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7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3682538" y="1249749"/>
            <a:ext cx="4302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8</a:t>
            </a:r>
          </a:p>
          <a:p>
            <a:endParaRPr lang="ru-RU" sz="1600" b="1" dirty="0"/>
          </a:p>
        </p:txBody>
      </p:sp>
      <p:sp>
        <p:nvSpPr>
          <p:cNvPr id="59" name="Овал 58"/>
          <p:cNvSpPr/>
          <p:nvPr/>
        </p:nvSpPr>
        <p:spPr>
          <a:xfrm>
            <a:off x="3920577" y="1334974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Овал 60"/>
          <p:cNvSpPr/>
          <p:nvPr/>
        </p:nvSpPr>
        <p:spPr>
          <a:xfrm>
            <a:off x="3789478" y="1594963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TextBox 61"/>
          <p:cNvSpPr txBox="1"/>
          <p:nvPr/>
        </p:nvSpPr>
        <p:spPr>
          <a:xfrm>
            <a:off x="3546223" y="1432086"/>
            <a:ext cx="4302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9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2968131" y="2556519"/>
            <a:ext cx="4302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10</a:t>
            </a:r>
          </a:p>
        </p:txBody>
      </p:sp>
      <p:sp>
        <p:nvSpPr>
          <p:cNvPr id="65" name="Овал 64"/>
          <p:cNvSpPr/>
          <p:nvPr/>
        </p:nvSpPr>
        <p:spPr>
          <a:xfrm>
            <a:off x="3282254" y="2608427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Овал 65"/>
          <p:cNvSpPr/>
          <p:nvPr/>
        </p:nvSpPr>
        <p:spPr>
          <a:xfrm>
            <a:off x="3674082" y="2051163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TextBox 66"/>
          <p:cNvSpPr txBox="1"/>
          <p:nvPr/>
        </p:nvSpPr>
        <p:spPr>
          <a:xfrm>
            <a:off x="3408142" y="1781999"/>
            <a:ext cx="4302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11</a:t>
            </a:r>
          </a:p>
        </p:txBody>
      </p:sp>
      <p:sp>
        <p:nvSpPr>
          <p:cNvPr id="68" name="Овал 67"/>
          <p:cNvSpPr/>
          <p:nvPr/>
        </p:nvSpPr>
        <p:spPr>
          <a:xfrm>
            <a:off x="4185740" y="1889517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TextBox 70"/>
          <p:cNvSpPr txBox="1"/>
          <p:nvPr/>
        </p:nvSpPr>
        <p:spPr>
          <a:xfrm>
            <a:off x="3976435" y="1933517"/>
            <a:ext cx="4302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12</a:t>
            </a:r>
          </a:p>
        </p:txBody>
      </p:sp>
      <p:sp>
        <p:nvSpPr>
          <p:cNvPr id="72" name="Овал 71"/>
          <p:cNvSpPr/>
          <p:nvPr/>
        </p:nvSpPr>
        <p:spPr>
          <a:xfrm>
            <a:off x="3576475" y="120965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TextBox 72"/>
          <p:cNvSpPr txBox="1"/>
          <p:nvPr/>
        </p:nvSpPr>
        <p:spPr>
          <a:xfrm>
            <a:off x="3256015" y="1088715"/>
            <a:ext cx="4302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13</a:t>
            </a:r>
          </a:p>
        </p:txBody>
      </p:sp>
      <p:sp>
        <p:nvSpPr>
          <p:cNvPr id="74" name="Овал 73"/>
          <p:cNvSpPr/>
          <p:nvPr/>
        </p:nvSpPr>
        <p:spPr>
          <a:xfrm>
            <a:off x="3415123" y="1448910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TextBox 74"/>
          <p:cNvSpPr txBox="1"/>
          <p:nvPr/>
        </p:nvSpPr>
        <p:spPr>
          <a:xfrm>
            <a:off x="3074152" y="1363853"/>
            <a:ext cx="4302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14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2964572" y="1754315"/>
            <a:ext cx="4302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15</a:t>
            </a:r>
          </a:p>
        </p:txBody>
      </p:sp>
      <p:sp>
        <p:nvSpPr>
          <p:cNvPr id="77" name="Овал 76"/>
          <p:cNvSpPr/>
          <p:nvPr/>
        </p:nvSpPr>
        <p:spPr>
          <a:xfrm>
            <a:off x="3290432" y="1925178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Овал 77"/>
          <p:cNvSpPr/>
          <p:nvPr/>
        </p:nvSpPr>
        <p:spPr>
          <a:xfrm>
            <a:off x="4166758" y="1523324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TextBox 78"/>
          <p:cNvSpPr txBox="1"/>
          <p:nvPr/>
        </p:nvSpPr>
        <p:spPr>
          <a:xfrm>
            <a:off x="3983410" y="1270199"/>
            <a:ext cx="4302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16</a:t>
            </a:r>
          </a:p>
        </p:txBody>
      </p:sp>
      <p:sp>
        <p:nvSpPr>
          <p:cNvPr id="80" name="Овал 79"/>
          <p:cNvSpPr/>
          <p:nvPr/>
        </p:nvSpPr>
        <p:spPr>
          <a:xfrm>
            <a:off x="4637332" y="1766455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TextBox 39"/>
          <p:cNvSpPr txBox="1"/>
          <p:nvPr/>
        </p:nvSpPr>
        <p:spPr>
          <a:xfrm>
            <a:off x="4265452" y="1678186"/>
            <a:ext cx="4652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17</a:t>
            </a:r>
          </a:p>
        </p:txBody>
      </p:sp>
      <p:sp>
        <p:nvSpPr>
          <p:cNvPr id="41" name="Овал 40"/>
          <p:cNvSpPr/>
          <p:nvPr/>
        </p:nvSpPr>
        <p:spPr>
          <a:xfrm>
            <a:off x="4844488" y="2186088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TextBox 43"/>
          <p:cNvSpPr txBox="1"/>
          <p:nvPr/>
        </p:nvSpPr>
        <p:spPr>
          <a:xfrm>
            <a:off x="4662451" y="2272071"/>
            <a:ext cx="4302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18</a:t>
            </a:r>
          </a:p>
        </p:txBody>
      </p:sp>
      <p:sp>
        <p:nvSpPr>
          <p:cNvPr id="46" name="Овал 45"/>
          <p:cNvSpPr/>
          <p:nvPr/>
        </p:nvSpPr>
        <p:spPr>
          <a:xfrm>
            <a:off x="4920857" y="2016740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TextBox 46"/>
          <p:cNvSpPr txBox="1"/>
          <p:nvPr/>
        </p:nvSpPr>
        <p:spPr>
          <a:xfrm>
            <a:off x="4944923" y="1804543"/>
            <a:ext cx="4302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19</a:t>
            </a:r>
          </a:p>
        </p:txBody>
      </p:sp>
      <p:sp>
        <p:nvSpPr>
          <p:cNvPr id="49" name="Овал 48"/>
          <p:cNvSpPr/>
          <p:nvPr/>
        </p:nvSpPr>
        <p:spPr>
          <a:xfrm>
            <a:off x="4345437" y="1418119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TextBox 52"/>
          <p:cNvSpPr txBox="1"/>
          <p:nvPr/>
        </p:nvSpPr>
        <p:spPr>
          <a:xfrm>
            <a:off x="4285139" y="1117761"/>
            <a:ext cx="4302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0</a:t>
            </a:r>
          </a:p>
        </p:txBody>
      </p:sp>
      <p:sp>
        <p:nvSpPr>
          <p:cNvPr id="57" name="Овал 56"/>
          <p:cNvSpPr/>
          <p:nvPr/>
        </p:nvSpPr>
        <p:spPr>
          <a:xfrm>
            <a:off x="4821993" y="187984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TextBox 59"/>
          <p:cNvSpPr txBox="1"/>
          <p:nvPr/>
        </p:nvSpPr>
        <p:spPr>
          <a:xfrm>
            <a:off x="4766673" y="1552592"/>
            <a:ext cx="4302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1</a:t>
            </a:r>
          </a:p>
        </p:txBody>
      </p:sp>
      <p:sp>
        <p:nvSpPr>
          <p:cNvPr id="63" name="Овал 62"/>
          <p:cNvSpPr/>
          <p:nvPr/>
        </p:nvSpPr>
        <p:spPr>
          <a:xfrm>
            <a:off x="4019326" y="1200766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TextBox 68"/>
          <p:cNvSpPr txBox="1"/>
          <p:nvPr/>
        </p:nvSpPr>
        <p:spPr>
          <a:xfrm>
            <a:off x="3689433" y="939040"/>
            <a:ext cx="4302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2</a:t>
            </a:r>
          </a:p>
        </p:txBody>
      </p:sp>
      <p:sp>
        <p:nvSpPr>
          <p:cNvPr id="70" name="Овал 69"/>
          <p:cNvSpPr/>
          <p:nvPr/>
        </p:nvSpPr>
        <p:spPr>
          <a:xfrm>
            <a:off x="4431500" y="1513776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TextBox 82"/>
          <p:cNvSpPr txBox="1"/>
          <p:nvPr/>
        </p:nvSpPr>
        <p:spPr>
          <a:xfrm>
            <a:off x="4498002" y="1318838"/>
            <a:ext cx="4302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3</a:t>
            </a:r>
          </a:p>
        </p:txBody>
      </p:sp>
      <p:sp>
        <p:nvSpPr>
          <p:cNvPr id="84" name="Овал 83"/>
          <p:cNvSpPr/>
          <p:nvPr/>
        </p:nvSpPr>
        <p:spPr>
          <a:xfrm>
            <a:off x="5059492" y="2356373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TextBox 84"/>
          <p:cNvSpPr txBox="1"/>
          <p:nvPr/>
        </p:nvSpPr>
        <p:spPr>
          <a:xfrm>
            <a:off x="5123166" y="2272071"/>
            <a:ext cx="4302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4</a:t>
            </a:r>
          </a:p>
        </p:txBody>
      </p:sp>
      <p:sp>
        <p:nvSpPr>
          <p:cNvPr id="86" name="Овал 85"/>
          <p:cNvSpPr/>
          <p:nvPr/>
        </p:nvSpPr>
        <p:spPr>
          <a:xfrm>
            <a:off x="4253980" y="1283103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TextBox 86"/>
          <p:cNvSpPr txBox="1"/>
          <p:nvPr/>
        </p:nvSpPr>
        <p:spPr>
          <a:xfrm>
            <a:off x="4176843" y="919754"/>
            <a:ext cx="10073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5-26</a:t>
            </a:r>
          </a:p>
        </p:txBody>
      </p:sp>
      <p:sp>
        <p:nvSpPr>
          <p:cNvPr id="89" name="Овал 88"/>
          <p:cNvSpPr/>
          <p:nvPr/>
        </p:nvSpPr>
        <p:spPr>
          <a:xfrm>
            <a:off x="4136210" y="1094054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Овал 90"/>
          <p:cNvSpPr/>
          <p:nvPr/>
        </p:nvSpPr>
        <p:spPr>
          <a:xfrm>
            <a:off x="4562560" y="1994113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TextBox 91"/>
          <p:cNvSpPr txBox="1"/>
          <p:nvPr/>
        </p:nvSpPr>
        <p:spPr>
          <a:xfrm>
            <a:off x="4296788" y="2075052"/>
            <a:ext cx="4302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7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/>
          <a:srcRect l="18968" t="24854" r="36557" b="12105"/>
          <a:stretch/>
        </p:blipFill>
        <p:spPr>
          <a:xfrm>
            <a:off x="246116" y="919754"/>
            <a:ext cx="7117210" cy="5605684"/>
          </a:xfrm>
          <a:prstGeom prst="rect">
            <a:avLst/>
          </a:prstGeom>
        </p:spPr>
      </p:pic>
      <p:sp>
        <p:nvSpPr>
          <p:cNvPr id="81" name="Заголовок 87"/>
          <p:cNvSpPr txBox="1">
            <a:spLocks/>
          </p:cNvSpPr>
          <p:nvPr/>
        </p:nvSpPr>
        <p:spPr>
          <a:xfrm>
            <a:off x="8837442" y="882472"/>
            <a:ext cx="2066720" cy="313932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1079473" algn="l"/>
              </a:tabLst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/>
              <a:t>г</a:t>
            </a:r>
            <a:r>
              <a:rPr lang="ru-RU" sz="1600" dirty="0" smtClean="0"/>
              <a:t>ород Лихославль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347033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EBC476-9252-C343-9FCE-489A77E2EA66}" type="slidenum">
              <a:rPr lang="ru-RU" smtClean="0"/>
              <a:pPr/>
              <a:t>11</a:t>
            </a:fld>
            <a:endParaRPr lang="ru-RU" dirty="0"/>
          </a:p>
        </p:txBody>
      </p:sp>
      <p:graphicFrame>
        <p:nvGraphicFramePr>
          <p:cNvPr id="81" name="Таблица 80"/>
          <p:cNvGraphicFramePr>
            <a:graphicFrameLocks noGrp="1"/>
          </p:cNvGraphicFramePr>
          <p:nvPr>
            <p:extLst/>
          </p:nvPr>
        </p:nvGraphicFramePr>
        <p:xfrm>
          <a:off x="3899682" y="1153076"/>
          <a:ext cx="4574088" cy="1057889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1008252">
                  <a:extLst>
                    <a:ext uri="{9D8B030D-6E8A-4147-A177-3AD203B41FA5}">
                      <a16:colId xmlns:a16="http://schemas.microsoft.com/office/drawing/2014/main" val="3312005695"/>
                    </a:ext>
                  </a:extLst>
                </a:gridCol>
                <a:gridCol w="2293270">
                  <a:extLst>
                    <a:ext uri="{9D8B030D-6E8A-4147-A177-3AD203B41FA5}">
                      <a16:colId xmlns:a16="http://schemas.microsoft.com/office/drawing/2014/main" val="1787469972"/>
                    </a:ext>
                  </a:extLst>
                </a:gridCol>
                <a:gridCol w="1272566">
                  <a:extLst>
                    <a:ext uri="{9D8B030D-6E8A-4147-A177-3AD203B41FA5}">
                      <a16:colId xmlns:a16="http://schemas.microsoft.com/office/drawing/2014/main" val="2660742808"/>
                    </a:ext>
                  </a:extLst>
                </a:gridCol>
              </a:tblGrid>
              <a:tr h="246789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омер</a:t>
                      </a:r>
                      <a:endParaRPr lang="ru-RU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звание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артал</a:t>
                      </a:r>
                      <a:endParaRPr lang="ru-RU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9237790"/>
                  </a:ext>
                </a:extLst>
              </a:tr>
              <a:tr h="202775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/т Смирновка </a:t>
                      </a: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69:19:0080136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0382551"/>
                  </a:ext>
                </a:extLst>
              </a:tr>
              <a:tr h="202775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/т Смирновка </a:t>
                      </a: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69:19:00801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9798364"/>
                  </a:ext>
                </a:extLst>
              </a:tr>
              <a:tr h="202775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/т Смирновка </a:t>
                      </a: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II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69:19:00801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192595"/>
                  </a:ext>
                </a:extLst>
              </a:tr>
              <a:tr h="202775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dirty="0" smtClean="0">
                          <a:effectLst/>
                        </a:rPr>
                        <a:t>СНТ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Ершовка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69:19:00801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301701"/>
                  </a:ext>
                </a:extLst>
              </a:tr>
            </a:tbl>
          </a:graphicData>
        </a:graphic>
      </p:graphicFrame>
      <p:sp>
        <p:nvSpPr>
          <p:cNvPr id="88" name="Заголовок 87"/>
          <p:cNvSpPr>
            <a:spLocks noGrp="1"/>
          </p:cNvSpPr>
          <p:nvPr>
            <p:ph type="title"/>
          </p:nvPr>
        </p:nvSpPr>
        <p:spPr>
          <a:xfrm>
            <a:off x="4814082" y="849944"/>
            <a:ext cx="2451056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tx2"/>
                </a:solidFill>
              </a:rPr>
              <a:t>поселок Калашниково</a:t>
            </a:r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90" name="Заголовок 2"/>
          <p:cNvSpPr txBox="1">
            <a:spLocks/>
          </p:cNvSpPr>
          <p:nvPr/>
        </p:nvSpPr>
        <p:spPr>
          <a:xfrm>
            <a:off x="962025" y="5"/>
            <a:ext cx="10534651" cy="8381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1079473" algn="l"/>
              </a:tabLst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Лихославльский муниципальный округ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899682" y="2210965"/>
            <a:ext cx="4574088" cy="4363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170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EBC476-9252-C343-9FCE-489A77E2EA66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ышневолоцкий </a:t>
            </a:r>
            <a:r>
              <a:rPr lang="ru-RU" dirty="0"/>
              <a:t>муниципальный </a:t>
            </a:r>
            <a:r>
              <a:rPr lang="ru-RU" dirty="0" smtClean="0"/>
              <a:t>округ</a:t>
            </a: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1670518" y="1207265"/>
          <a:ext cx="4170045" cy="570867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1873196">
                  <a:extLst>
                    <a:ext uri="{9D8B030D-6E8A-4147-A177-3AD203B41FA5}">
                      <a16:colId xmlns:a16="http://schemas.microsoft.com/office/drawing/2014/main" val="1787469972"/>
                    </a:ext>
                  </a:extLst>
                </a:gridCol>
                <a:gridCol w="2296849">
                  <a:extLst>
                    <a:ext uri="{9D8B030D-6E8A-4147-A177-3AD203B41FA5}">
                      <a16:colId xmlns:a16="http://schemas.microsoft.com/office/drawing/2014/main" val="2660742808"/>
                    </a:ext>
                  </a:extLst>
                </a:gridCol>
              </a:tblGrid>
              <a:tr h="187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звание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артал</a:t>
                      </a:r>
                      <a:endParaRPr lang="ru-RU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9237790"/>
                  </a:ext>
                </a:extLst>
              </a:tr>
              <a:tr h="349953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с/т "Зеленый городок"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39:0130401, 69:39:0130402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2511655"/>
                  </a:ext>
                </a:extLst>
              </a:tr>
            </a:tbl>
          </a:graphicData>
        </a:graphic>
      </p:graphicFrame>
      <p:sp>
        <p:nvSpPr>
          <p:cNvPr id="21" name="Прямоугольник 20"/>
          <p:cNvSpPr/>
          <p:nvPr/>
        </p:nvSpPr>
        <p:spPr>
          <a:xfrm>
            <a:off x="2437630" y="813874"/>
            <a:ext cx="26044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chemeClr val="tx2"/>
                </a:solidFill>
              </a:rPr>
              <a:t>г</a:t>
            </a:r>
            <a:r>
              <a:rPr lang="ru-RU" sz="1600" b="1" dirty="0" smtClean="0">
                <a:solidFill>
                  <a:schemeClr val="tx2"/>
                </a:solidFill>
              </a:rPr>
              <a:t>ород </a:t>
            </a:r>
            <a:r>
              <a:rPr lang="ru-RU" sz="1600" b="1" dirty="0">
                <a:solidFill>
                  <a:schemeClr val="tx2"/>
                </a:solidFill>
              </a:rPr>
              <a:t>Вышний Волочек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/>
          <a:srcRect l="20099" t="34179" r="54975" b="14345"/>
          <a:stretch/>
        </p:blipFill>
        <p:spPr>
          <a:xfrm>
            <a:off x="1670518" y="1809572"/>
            <a:ext cx="4163278" cy="453485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176355" y="1809572"/>
            <a:ext cx="4137619" cy="4559188"/>
          </a:xfrm>
          <a:prstGeom prst="rect">
            <a:avLst/>
          </a:prstGeom>
        </p:spPr>
      </p:pic>
      <p:graphicFrame>
        <p:nvGraphicFramePr>
          <p:cNvPr id="8" name="Таблица 7"/>
          <p:cNvGraphicFramePr>
            <a:graphicFrameLocks noGrp="1"/>
          </p:cNvGraphicFramePr>
          <p:nvPr>
            <p:extLst/>
          </p:nvPr>
        </p:nvGraphicFramePr>
        <p:xfrm>
          <a:off x="6176355" y="1207265"/>
          <a:ext cx="4170045" cy="570867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1873196">
                  <a:extLst>
                    <a:ext uri="{9D8B030D-6E8A-4147-A177-3AD203B41FA5}">
                      <a16:colId xmlns:a16="http://schemas.microsoft.com/office/drawing/2014/main" val="1787469972"/>
                    </a:ext>
                  </a:extLst>
                </a:gridCol>
                <a:gridCol w="2296849">
                  <a:extLst>
                    <a:ext uri="{9D8B030D-6E8A-4147-A177-3AD203B41FA5}">
                      <a16:colId xmlns:a16="http://schemas.microsoft.com/office/drawing/2014/main" val="2660742808"/>
                    </a:ext>
                  </a:extLst>
                </a:gridCol>
              </a:tblGrid>
              <a:tr h="187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звание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артал</a:t>
                      </a:r>
                      <a:endParaRPr lang="ru-RU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9237790"/>
                  </a:ext>
                </a:extLst>
              </a:tr>
              <a:tr h="349953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effectLst/>
                        </a:rPr>
                        <a:t>СНТ "Хрусталь"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06:0180309, 69:06:0180310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2511655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7189906" y="829726"/>
            <a:ext cx="215898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tx2"/>
                </a:solidFill>
              </a:rPr>
              <a:t>пгт Красномайский</a:t>
            </a:r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8136397" y="2909455"/>
            <a:ext cx="133003" cy="13300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515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24207" y="838204"/>
            <a:ext cx="7049014" cy="5559593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EBC476-9252-C343-9FCE-489A77E2EA66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ташковский городской округ</a:t>
            </a:r>
            <a:endParaRPr lang="ru-RU" dirty="0"/>
          </a:p>
        </p:txBody>
      </p:sp>
      <p:sp>
        <p:nvSpPr>
          <p:cNvPr id="7" name="Овал 6"/>
          <p:cNvSpPr/>
          <p:nvPr/>
        </p:nvSpPr>
        <p:spPr>
          <a:xfrm>
            <a:off x="3610967" y="306173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/>
          </p:nvPr>
        </p:nvGraphicFramePr>
        <p:xfrm>
          <a:off x="8011039" y="838204"/>
          <a:ext cx="3841293" cy="54312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749827">
                  <a:extLst>
                    <a:ext uri="{9D8B030D-6E8A-4147-A177-3AD203B41FA5}">
                      <a16:colId xmlns:a16="http://schemas.microsoft.com/office/drawing/2014/main" val="3447585716"/>
                    </a:ext>
                  </a:extLst>
                </a:gridCol>
                <a:gridCol w="2091466">
                  <a:extLst>
                    <a:ext uri="{9D8B030D-6E8A-4147-A177-3AD203B41FA5}">
                      <a16:colId xmlns:a16="http://schemas.microsoft.com/office/drawing/2014/main" val="1487477736"/>
                    </a:ext>
                  </a:extLst>
                </a:gridCol>
              </a:tblGrid>
              <a:tr h="2287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звание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Квартал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862841"/>
                  </a:ext>
                </a:extLst>
              </a:tr>
              <a:tr h="2287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СНТ "Неприе"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</a:rPr>
                        <a:t>69:24:0000014 </a:t>
                      </a:r>
                    </a:p>
                    <a:p>
                      <a:pPr algn="ctr" fontAlgn="ctr"/>
                      <a:r>
                        <a:rPr lang="ru-RU" sz="1000" u="none" strike="noStrike" dirty="0" smtClean="0">
                          <a:effectLst/>
                        </a:rPr>
                        <a:t>69:24:0140401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16415156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667438" y="1434967"/>
            <a:ext cx="4432767" cy="4962830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10220138" y="3136436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5383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EBC476-9252-C343-9FCE-489A77E2EA66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алязинский муниципальный округ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403" y="838204"/>
            <a:ext cx="4666789" cy="5734193"/>
          </a:xfrm>
          <a:prstGeom prst="rect">
            <a:avLst/>
          </a:prstGeom>
        </p:spPr>
      </p:pic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6133315" y="838204"/>
          <a:ext cx="4574088" cy="1463439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1008252">
                  <a:extLst>
                    <a:ext uri="{9D8B030D-6E8A-4147-A177-3AD203B41FA5}">
                      <a16:colId xmlns:a16="http://schemas.microsoft.com/office/drawing/2014/main" val="3312005695"/>
                    </a:ext>
                  </a:extLst>
                </a:gridCol>
                <a:gridCol w="2293270">
                  <a:extLst>
                    <a:ext uri="{9D8B030D-6E8A-4147-A177-3AD203B41FA5}">
                      <a16:colId xmlns:a16="http://schemas.microsoft.com/office/drawing/2014/main" val="1787469972"/>
                    </a:ext>
                  </a:extLst>
                </a:gridCol>
                <a:gridCol w="1272566">
                  <a:extLst>
                    <a:ext uri="{9D8B030D-6E8A-4147-A177-3AD203B41FA5}">
                      <a16:colId xmlns:a16="http://schemas.microsoft.com/office/drawing/2014/main" val="2660742808"/>
                    </a:ext>
                  </a:extLst>
                </a:gridCol>
              </a:tblGrid>
              <a:tr h="246789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омер</a:t>
                      </a:r>
                      <a:endParaRPr lang="ru-RU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звание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артал</a:t>
                      </a:r>
                      <a:endParaRPr lang="ru-RU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9237790"/>
                  </a:ext>
                </a:extLst>
              </a:tr>
              <a:tr h="202775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НТ "Новово-1"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:11:00000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0382551"/>
                  </a:ext>
                </a:extLst>
              </a:tr>
              <a:tr h="202775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НТ "Новово-2"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69:11:00000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9798364"/>
                  </a:ext>
                </a:extLst>
              </a:tr>
              <a:tr h="202775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НТ "Эра", д.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лагуново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:11:00000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192595"/>
                  </a:ext>
                </a:extLst>
              </a:tr>
              <a:tr h="202775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НТ "Ника" (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аулино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:11:00000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301701"/>
                  </a:ext>
                </a:extLst>
              </a:tr>
              <a:tr h="202775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НТ"Рыбацкий берег"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:11:00000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0933650"/>
                  </a:ext>
                </a:extLst>
              </a:tr>
              <a:tr h="202775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НП "Чаплино"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:11:00705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1866447"/>
                  </a:ext>
                </a:extLst>
              </a:tr>
            </a:tbl>
          </a:graphicData>
        </a:graphic>
      </p:graphicFrame>
      <p:sp>
        <p:nvSpPr>
          <p:cNvPr id="7" name="Овал 6"/>
          <p:cNvSpPr/>
          <p:nvPr/>
        </p:nvSpPr>
        <p:spPr>
          <a:xfrm>
            <a:off x="1815450" y="217057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1892059" y="2063639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6</a:t>
            </a:r>
            <a:endParaRPr lang="ru-RU" sz="1600" b="1" dirty="0"/>
          </a:p>
        </p:txBody>
      </p:sp>
      <p:sp>
        <p:nvSpPr>
          <p:cNvPr id="9" name="Овал 8"/>
          <p:cNvSpPr/>
          <p:nvPr/>
        </p:nvSpPr>
        <p:spPr>
          <a:xfrm>
            <a:off x="1258284" y="217057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1262428" y="2232916"/>
            <a:ext cx="4812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-5</a:t>
            </a:r>
            <a:endParaRPr lang="ru-RU" sz="1600" b="1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80082" y="2402193"/>
            <a:ext cx="4865257" cy="3942933"/>
          </a:xfrm>
          <a:prstGeom prst="rect">
            <a:avLst/>
          </a:prstGeom>
        </p:spPr>
      </p:pic>
      <p:sp>
        <p:nvSpPr>
          <p:cNvPr id="12" name="Овал 11"/>
          <p:cNvSpPr/>
          <p:nvPr/>
        </p:nvSpPr>
        <p:spPr>
          <a:xfrm>
            <a:off x="9448800" y="3727884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9525409" y="3620952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6</a:t>
            </a:r>
            <a:endParaRPr lang="ru-RU" sz="1600" b="1" dirty="0"/>
          </a:p>
        </p:txBody>
      </p:sp>
    </p:spTree>
    <p:extLst>
      <p:ext uri="{BB962C8B-B14F-4D97-AF65-F5344CB8AC3E}">
        <p14:creationId xmlns:p14="http://schemas.microsoft.com/office/powerpoint/2010/main" val="3479752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B436E1-75B9-494C-A8E2-2C1DA0749C8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0" y="2171700"/>
            <a:ext cx="6475413" cy="3041650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</a:t>
            </a:r>
            <a:r>
              <a:rPr lang="ru-RU" sz="3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</a:t>
            </a:r>
            <a:r>
              <a:rPr lang="ru-RU" sz="3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имание!  </a:t>
            </a:r>
            <a:br>
              <a:rPr lang="ru-RU" sz="3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32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/>
          <p:nvPr/>
        </p:nvPicPr>
        <p:blipFill rotWithShape="1">
          <a:blip r:embed="rId2" cstate="print"/>
          <a:srcRect l="10947" t="6" r="73336" b="94914"/>
          <a:stretch/>
        </p:blipFill>
        <p:spPr bwMode="auto">
          <a:xfrm>
            <a:off x="1175756" y="638355"/>
            <a:ext cx="1722720" cy="41223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7098" y="5139632"/>
            <a:ext cx="1521415" cy="1608899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16" y="5139633"/>
            <a:ext cx="1521415" cy="1608899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7780" y="5139631"/>
            <a:ext cx="1521415" cy="1608899"/>
          </a:xfrm>
          <a:prstGeom prst="rect">
            <a:avLst/>
          </a:prstGeom>
          <a:effectLst>
            <a:softEdge rad="31750"/>
          </a:effectLst>
        </p:spPr>
      </p:pic>
      <p:sp>
        <p:nvSpPr>
          <p:cNvPr id="11" name="TextBox 10"/>
          <p:cNvSpPr txBox="1"/>
          <p:nvPr/>
        </p:nvSpPr>
        <p:spPr>
          <a:xfrm>
            <a:off x="1246094" y="612843"/>
            <a:ext cx="233082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Управление Федеральной 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службы государственной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регистрации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, </a:t>
            </a:r>
            <a:endParaRPr kumimoji="0" lang="en-US" sz="7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+mn-cs"/>
            </a:endParaRPr>
          </a:p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кадастра</a:t>
            </a:r>
            <a:r>
              <a:rPr kumimoji="0" lang="en-US" sz="7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 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и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картографии 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 </a:t>
            </a:r>
            <a:endParaRPr kumimoji="0" lang="en-US" sz="7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+mn-cs"/>
            </a:endParaRPr>
          </a:p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+mn-cs"/>
              </a:rPr>
              <a:t>по Тверской области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+mn-cs"/>
            </a:endParaRPr>
          </a:p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+mn-cs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A04FAC2-C35A-44D1-7A98-DCB9C482F2F9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938653" y="2231624"/>
            <a:ext cx="2592785" cy="2502130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14672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89758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EBC476-9252-C343-9FCE-489A77E2EA66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>
                  <a:glow rad="101600">
                    <a:srgbClr val="008CFF">
                      <a:satMod val="175000"/>
                      <a:alpha val="40000"/>
                    </a:srgbClr>
                  </a:glow>
                </a:effectLst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656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glow rad="101600">
                  <a:srgbClr val="008CFF">
                    <a:satMod val="175000"/>
                    <a:alpha val="40000"/>
                  </a:srgbClr>
                </a:glo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ологовский муниципальный округ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8665865" y="850981"/>
          <a:ext cx="3526136" cy="55714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8749">
                  <a:extLst>
                    <a:ext uri="{9D8B030D-6E8A-4147-A177-3AD203B41FA5}">
                      <a16:colId xmlns:a16="http://schemas.microsoft.com/office/drawing/2014/main" val="2557735476"/>
                    </a:ext>
                  </a:extLst>
                </a:gridCol>
                <a:gridCol w="780109">
                  <a:extLst>
                    <a:ext uri="{9D8B030D-6E8A-4147-A177-3AD203B41FA5}">
                      <a16:colId xmlns:a16="http://schemas.microsoft.com/office/drawing/2014/main" val="1534221737"/>
                    </a:ext>
                  </a:extLst>
                </a:gridCol>
                <a:gridCol w="2507278">
                  <a:extLst>
                    <a:ext uri="{9D8B030D-6E8A-4147-A177-3AD203B41FA5}">
                      <a16:colId xmlns:a16="http://schemas.microsoft.com/office/drawing/2014/main" val="2321705115"/>
                    </a:ext>
                  </a:extLst>
                </a:gridCol>
              </a:tblGrid>
              <a:tr h="4707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звание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Квартал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6267473"/>
                  </a:ext>
                </a:extLst>
              </a:tr>
              <a:tr h="327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СНТ № 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9:38:0081701, 69:38:0081702, 69:38:0081703, 69:38:0081704, 69:38:0081705, 69:38:008174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3777917"/>
                  </a:ext>
                </a:extLst>
              </a:tr>
              <a:tr h="3121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СНТ № 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9:38:0081708, 69:38:0081709, 69:38:0081710, 69:38:008171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1161237"/>
                  </a:ext>
                </a:extLst>
              </a:tr>
              <a:tr h="3158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СНТ № 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9:38:0081714, 69:38:0081715, 69:38:0081716, 69:38:0081717, 69:38:008171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1769626"/>
                  </a:ext>
                </a:extLst>
              </a:tr>
              <a:tr h="19119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СНТ № 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отсутству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947816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СНТ № 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9:38:0081722, 69:38:008172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4614918"/>
                  </a:ext>
                </a:extLst>
              </a:tr>
              <a:tr h="2161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СНТ № 5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9:38:0081721, 69:38:008174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6809763"/>
                  </a:ext>
                </a:extLst>
              </a:tr>
              <a:tr h="2161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СНТ № 7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9:38:0081724, 69:38:008174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0839880"/>
                  </a:ext>
                </a:extLst>
              </a:tr>
              <a:tr h="19119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СНТ "Лазурный"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9:38:0081728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4898813"/>
                  </a:ext>
                </a:extLst>
              </a:tr>
              <a:tr h="3656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СНТ "Лазурный-1"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9:38:0081729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9548905"/>
                  </a:ext>
                </a:extLst>
              </a:tr>
              <a:tr h="2576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СНТ "Озерная"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9:38:008173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4999887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СНТ "Призыв"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отсутствуе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1109528"/>
                  </a:ext>
                </a:extLst>
              </a:tr>
              <a:tr h="3574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1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СНТ "Дружба"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69:38:0081611, 69:38:0081612, 69:38:0081613, 69:38:0081614, 69:38:0081615, 69:38:008161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4899027"/>
                  </a:ext>
                </a:extLst>
              </a:tr>
              <a:tr h="2410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СНТ "Базовец"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effectLst/>
                        </a:rPr>
                        <a:t>69:04:0172701,69:04:0172702</a:t>
                      </a:r>
                      <a:r>
                        <a:rPr lang="ru-RU" sz="800" u="none" strike="noStrike" dirty="0">
                          <a:effectLst/>
                        </a:rPr>
                        <a:t>, 69:04:017270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5393422"/>
                  </a:ext>
                </a:extLst>
              </a:tr>
              <a:tr h="3997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1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СНТ "Урожай"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 smtClean="0">
                          <a:effectLst/>
                        </a:rPr>
                        <a:t>69:04:0172601,69:04:0172602</a:t>
                      </a:r>
                      <a:r>
                        <a:rPr lang="ru-RU" sz="800" u="none" strike="noStrike" dirty="0">
                          <a:effectLst/>
                        </a:rPr>
                        <a:t>, 69:04:0172603, 69:04:0172604, 69:04:017260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0973351"/>
                  </a:ext>
                </a:extLst>
              </a:tr>
              <a:tr h="2005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Т "Веснянка"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38:0080808, 807, 809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420622"/>
                  </a:ext>
                </a:extLst>
              </a:tr>
              <a:tr h="1995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Т "Автомобилист"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04:0131323, 69:04:013132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0498786"/>
                  </a:ext>
                </a:extLst>
              </a:tr>
              <a:tr h="2199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Т "Железобетон"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04:013132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7052862"/>
                  </a:ext>
                </a:extLst>
              </a:tr>
              <a:tr h="2199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Т "</a:t>
                      </a:r>
                      <a:r>
                        <a:rPr lang="ru-RU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рудник</a:t>
                      </a:r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 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04:0131327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978562"/>
                  </a:ext>
                </a:extLst>
              </a:tr>
              <a:tr h="2199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Т "Огородник-1" 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04:0131329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3067570"/>
                  </a:ext>
                </a:extLst>
              </a:tr>
            </a:tbl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" y="1072341"/>
            <a:ext cx="5647277" cy="5365207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91440" y="6168044"/>
            <a:ext cx="423949" cy="0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440572" y="5966752"/>
            <a:ext cx="22903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- </a:t>
            </a:r>
            <a:r>
              <a:rPr lang="ru-RU" sz="1200" dirty="0" smtClean="0"/>
              <a:t>Магистральный газопровод</a:t>
            </a:r>
            <a:endParaRPr lang="ru-RU" sz="1200" dirty="0"/>
          </a:p>
        </p:txBody>
      </p:sp>
      <p:sp>
        <p:nvSpPr>
          <p:cNvPr id="21" name="TextBox 20"/>
          <p:cNvSpPr txBox="1"/>
          <p:nvPr/>
        </p:nvSpPr>
        <p:spPr>
          <a:xfrm>
            <a:off x="1855960" y="770606"/>
            <a:ext cx="16675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tx2"/>
                </a:solidFill>
              </a:rPr>
              <a:t>город Бологое</a:t>
            </a:r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227773" y="770606"/>
            <a:ext cx="15903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tx2"/>
                </a:solidFill>
              </a:rPr>
              <a:t>п. Выползово</a:t>
            </a:r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28" name="Овал 27"/>
          <p:cNvSpPr/>
          <p:nvPr/>
        </p:nvSpPr>
        <p:spPr>
          <a:xfrm>
            <a:off x="7680960" y="3205799"/>
            <a:ext cx="152285" cy="152285"/>
          </a:xfrm>
          <a:prstGeom prst="ellipse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683462" y="1072341"/>
            <a:ext cx="2872755" cy="5365207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7547769" y="3036522"/>
            <a:ext cx="7088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0000FF"/>
                </a:solidFill>
              </a:rPr>
              <a:t>16-19</a:t>
            </a:r>
            <a:endParaRPr lang="ru-RU" sz="1600" b="1" dirty="0">
              <a:solidFill>
                <a:srgbClr val="0000FF"/>
              </a:solidFill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7348193" y="3391283"/>
            <a:ext cx="191451" cy="191451"/>
          </a:xfrm>
          <a:prstGeom prst="ellipse">
            <a:avLst/>
          </a:prstGeom>
          <a:solidFill>
            <a:srgbClr val="00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2985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алининский муниципальный округ</a:t>
            </a:r>
            <a:endParaRPr lang="ru-RU" dirty="0"/>
          </a:p>
        </p:txBody>
      </p:sp>
      <p:graphicFrame>
        <p:nvGraphicFramePr>
          <p:cNvPr id="81" name="Таблица 80"/>
          <p:cNvGraphicFramePr>
            <a:graphicFrameLocks noGrp="1"/>
          </p:cNvGraphicFramePr>
          <p:nvPr>
            <p:extLst/>
          </p:nvPr>
        </p:nvGraphicFramePr>
        <p:xfrm>
          <a:off x="7140414" y="929338"/>
          <a:ext cx="4569096" cy="4217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3434">
                  <a:extLst>
                    <a:ext uri="{9D8B030D-6E8A-4147-A177-3AD203B41FA5}">
                      <a16:colId xmlns:a16="http://schemas.microsoft.com/office/drawing/2014/main" val="3446441887"/>
                    </a:ext>
                  </a:extLst>
                </a:gridCol>
                <a:gridCol w="1898779">
                  <a:extLst>
                    <a:ext uri="{9D8B030D-6E8A-4147-A177-3AD203B41FA5}">
                      <a16:colId xmlns:a16="http://schemas.microsoft.com/office/drawing/2014/main" val="3727426321"/>
                    </a:ext>
                  </a:extLst>
                </a:gridCol>
                <a:gridCol w="1956883">
                  <a:extLst>
                    <a:ext uri="{9D8B030D-6E8A-4147-A177-3AD203B41FA5}">
                      <a16:colId xmlns:a16="http://schemas.microsoft.com/office/drawing/2014/main" val="2457723088"/>
                    </a:ext>
                  </a:extLst>
                </a:gridCol>
              </a:tblGrid>
              <a:tr h="225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№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азвание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вартал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4295734"/>
                  </a:ext>
                </a:extLst>
              </a:tr>
              <a:tr h="19643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НТ «Труженик»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9:10:0371801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2138169"/>
                  </a:ext>
                </a:extLst>
              </a:tr>
            </a:tbl>
          </a:graphicData>
        </a:graphic>
      </p:graphicFrame>
      <p:sp>
        <p:nvSpPr>
          <p:cNvPr id="6" name="Овал 5"/>
          <p:cNvSpPr/>
          <p:nvPr/>
        </p:nvSpPr>
        <p:spPr>
          <a:xfrm>
            <a:off x="2006492" y="4444290"/>
            <a:ext cx="190975" cy="1909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800" b="1" i="0" u="none" strike="noStrike" kern="1200" cap="none" spc="0" normalizeH="0" baseline="0" noProof="0">
              <a:ln>
                <a:noFill/>
              </a:ln>
              <a:solidFill>
                <a:srgbClr val="0079F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11581" y="3909078"/>
            <a:ext cx="52770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9F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ru-RU" sz="4800" b="1" i="0" u="none" strike="noStrike" kern="1200" cap="none" spc="0" normalizeH="0" baseline="0" noProof="0" dirty="0">
              <a:ln>
                <a:noFill/>
              </a:ln>
              <a:solidFill>
                <a:srgbClr val="0079F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140415" y="1401763"/>
            <a:ext cx="4569096" cy="496420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print"/>
          <a:srcRect l="22338" t="25157" r="36468" b="11427"/>
          <a:stretch/>
        </p:blipFill>
        <p:spPr>
          <a:xfrm>
            <a:off x="497298" y="929338"/>
            <a:ext cx="6373765" cy="5436628"/>
          </a:xfrm>
          <a:prstGeom prst="rect">
            <a:avLst/>
          </a:prstGeom>
        </p:spPr>
      </p:pic>
      <p:cxnSp>
        <p:nvCxnSpPr>
          <p:cNvPr id="3" name="Прямая соединительная линия 2"/>
          <p:cNvCxnSpPr>
            <a:stCxn id="4" idx="1"/>
          </p:cNvCxnSpPr>
          <p:nvPr/>
        </p:nvCxnSpPr>
        <p:spPr>
          <a:xfrm>
            <a:off x="497298" y="3647652"/>
            <a:ext cx="2038084" cy="2718314"/>
          </a:xfrm>
          <a:prstGeom prst="line">
            <a:avLst/>
          </a:prstGeom>
          <a:ln w="762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497298" y="6463238"/>
            <a:ext cx="713589" cy="0"/>
          </a:xfrm>
          <a:prstGeom prst="line">
            <a:avLst/>
          </a:prstGeom>
          <a:ln w="762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210887" y="6318600"/>
            <a:ext cx="438017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schemeClr val="accent1"/>
                </a:solidFill>
              </a:rPr>
              <a:t>- Магистральный газопровод (схематичное расположение)</a:t>
            </a:r>
            <a:endParaRPr lang="ru-RU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513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4893" y="838204"/>
            <a:ext cx="6716605" cy="5542273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EBC476-9252-C343-9FCE-489A77E2EA66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Городской округ город Тверь (частично газифицированные снт)</a:t>
            </a:r>
            <a:endParaRPr lang="ru-RU" dirty="0"/>
          </a:p>
        </p:txBody>
      </p:sp>
      <p:sp>
        <p:nvSpPr>
          <p:cNvPr id="7" name="Овал 6"/>
          <p:cNvSpPr/>
          <p:nvPr/>
        </p:nvSpPr>
        <p:spPr>
          <a:xfrm>
            <a:off x="3644392" y="1467454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4347274" y="2595806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4-12</a:t>
            </a:r>
            <a:endParaRPr lang="ru-RU" sz="16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3495152" y="1185576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</a:t>
            </a:r>
            <a:endParaRPr lang="ru-RU" sz="1600" b="1" dirty="0"/>
          </a:p>
        </p:txBody>
      </p:sp>
      <p:sp>
        <p:nvSpPr>
          <p:cNvPr id="15" name="Овал 14"/>
          <p:cNvSpPr/>
          <p:nvPr/>
        </p:nvSpPr>
        <p:spPr>
          <a:xfrm>
            <a:off x="2707825" y="2934360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2529559" y="2595806"/>
            <a:ext cx="4812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-3</a:t>
            </a:r>
            <a:endParaRPr lang="ru-RU" sz="1600" b="1" dirty="0"/>
          </a:p>
        </p:txBody>
      </p:sp>
      <p:sp>
        <p:nvSpPr>
          <p:cNvPr id="17" name="Овал 16"/>
          <p:cNvSpPr/>
          <p:nvPr/>
        </p:nvSpPr>
        <p:spPr>
          <a:xfrm>
            <a:off x="4525540" y="2934360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5808472" y="5867083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5516393" y="5929428"/>
            <a:ext cx="7088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3-15</a:t>
            </a:r>
            <a:endParaRPr lang="ru-RU" sz="1600" b="1" dirty="0"/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/>
          </p:nvPr>
        </p:nvGraphicFramePr>
        <p:xfrm>
          <a:off x="6791497" y="818874"/>
          <a:ext cx="5237019" cy="5582477"/>
        </p:xfrm>
        <a:graphic>
          <a:graphicData uri="http://schemas.openxmlformats.org/drawingml/2006/table">
            <a:tbl>
              <a:tblPr/>
              <a:tblGrid>
                <a:gridCol w="482139">
                  <a:extLst>
                    <a:ext uri="{9D8B030D-6E8A-4147-A177-3AD203B41FA5}">
                      <a16:colId xmlns:a16="http://schemas.microsoft.com/office/drawing/2014/main" val="1254802453"/>
                    </a:ext>
                  </a:extLst>
                </a:gridCol>
                <a:gridCol w="3740728">
                  <a:extLst>
                    <a:ext uri="{9D8B030D-6E8A-4147-A177-3AD203B41FA5}">
                      <a16:colId xmlns:a16="http://schemas.microsoft.com/office/drawing/2014/main" val="331697071"/>
                    </a:ext>
                  </a:extLst>
                </a:gridCol>
                <a:gridCol w="1014152">
                  <a:extLst>
                    <a:ext uri="{9D8B030D-6E8A-4147-A177-3AD203B41FA5}">
                      <a16:colId xmlns:a16="http://schemas.microsoft.com/office/drawing/2014/main" val="2136287414"/>
                    </a:ext>
                  </a:extLst>
                </a:gridCol>
              </a:tblGrid>
              <a:tr h="13441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№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Название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Квартал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0825900"/>
                  </a:ext>
                </a:extLst>
              </a:tr>
              <a:tr h="29443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Тверца"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003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3407951"/>
                  </a:ext>
                </a:extLst>
              </a:tr>
              <a:tr h="39045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Мичуринец"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180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4240680"/>
                  </a:ext>
                </a:extLst>
              </a:tr>
              <a:tr h="39045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Сад-1 им. Мичурина"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221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6212366"/>
                  </a:ext>
                </a:extLst>
              </a:tr>
              <a:tr h="29443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Весна"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583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7078854"/>
                  </a:ext>
                </a:extLst>
              </a:tr>
              <a:tr h="67849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Коллективный сад № 5 ОАО Тверского вагоностроительного завода"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584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9616030"/>
                  </a:ext>
                </a:extLst>
              </a:tr>
              <a:tr h="39045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Учитель-1"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587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6518199"/>
                  </a:ext>
                </a:extLst>
              </a:tr>
              <a:tr h="29443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Ветеран"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30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5750260"/>
                  </a:ext>
                </a:extLst>
              </a:tr>
              <a:tr h="2467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 товарищество "Дружба"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53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4439996"/>
                  </a:ext>
                </a:extLst>
              </a:tr>
              <a:tr h="39045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Юбилейное"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59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912704"/>
                  </a:ext>
                </a:extLst>
              </a:tr>
              <a:tr h="39045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Заволжский сад"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61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8105518"/>
                  </a:ext>
                </a:extLst>
              </a:tr>
              <a:tr h="29443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Сад № 8"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64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731633"/>
                  </a:ext>
                </a:extLst>
              </a:tr>
              <a:tr h="29443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Спутник"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65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2078052"/>
                  </a:ext>
                </a:extLst>
              </a:tr>
              <a:tr h="48646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собственников недвижимости "Дружба"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200088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3677267"/>
                  </a:ext>
                </a:extLst>
              </a:tr>
              <a:tr h="39045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Садовод-Кооператор"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200281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1073522"/>
                  </a:ext>
                </a:extLst>
              </a:tr>
              <a:tr h="19842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товарищество "Утро"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200286</a:t>
                      </a:r>
                    </a:p>
                  </a:txBody>
                  <a:tcPr marL="5054" marR="5054" marT="505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44730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4115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4893" y="838204"/>
            <a:ext cx="6716605" cy="5542273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EBC476-9252-C343-9FCE-489A77E2EA66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Городской округ город Тверь (негазифицированные снт)</a:t>
            </a:r>
            <a:endParaRPr lang="ru-RU" dirty="0"/>
          </a:p>
        </p:txBody>
      </p:sp>
      <p:sp>
        <p:nvSpPr>
          <p:cNvPr id="7" name="Овал 6"/>
          <p:cNvSpPr/>
          <p:nvPr/>
        </p:nvSpPr>
        <p:spPr>
          <a:xfrm>
            <a:off x="5524776" y="3720203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4330785" y="2658151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-13</a:t>
            </a:r>
            <a:endParaRPr lang="ru-RU" sz="1600" b="1" dirty="0"/>
          </a:p>
        </p:txBody>
      </p:sp>
      <p:sp>
        <p:nvSpPr>
          <p:cNvPr id="17" name="Овал 16"/>
          <p:cNvSpPr/>
          <p:nvPr/>
        </p:nvSpPr>
        <p:spPr>
          <a:xfrm>
            <a:off x="4525540" y="2934360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9"/>
          <p:cNvSpPr/>
          <p:nvPr/>
        </p:nvSpPr>
        <p:spPr>
          <a:xfrm>
            <a:off x="5462430" y="4620747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/>
          <p:cNvSpPr txBox="1"/>
          <p:nvPr/>
        </p:nvSpPr>
        <p:spPr>
          <a:xfrm>
            <a:off x="5396180" y="3438657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4</a:t>
            </a:r>
            <a:endParaRPr lang="ru-RU" sz="160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5256284" y="4344538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5</a:t>
            </a:r>
            <a:endParaRPr lang="ru-RU" sz="1600" b="1" dirty="0"/>
          </a:p>
        </p:txBody>
      </p:sp>
      <p:sp>
        <p:nvSpPr>
          <p:cNvPr id="24" name="Овал 23"/>
          <p:cNvSpPr/>
          <p:nvPr/>
        </p:nvSpPr>
        <p:spPr>
          <a:xfrm>
            <a:off x="6043001" y="5887052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/>
          <p:cNvSpPr txBox="1"/>
          <p:nvPr/>
        </p:nvSpPr>
        <p:spPr>
          <a:xfrm>
            <a:off x="5750922" y="5975975"/>
            <a:ext cx="7088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6-28</a:t>
            </a:r>
            <a:endParaRPr lang="ru-RU" sz="1600" b="1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/>
          </p:nvPr>
        </p:nvGraphicFramePr>
        <p:xfrm>
          <a:off x="6791498" y="821046"/>
          <a:ext cx="5270269" cy="5899074"/>
        </p:xfrm>
        <a:graphic>
          <a:graphicData uri="http://schemas.openxmlformats.org/drawingml/2006/table">
            <a:tbl>
              <a:tblPr/>
              <a:tblGrid>
                <a:gridCol w="207818">
                  <a:extLst>
                    <a:ext uri="{9D8B030D-6E8A-4147-A177-3AD203B41FA5}">
                      <a16:colId xmlns:a16="http://schemas.microsoft.com/office/drawing/2014/main" val="374365201"/>
                    </a:ext>
                  </a:extLst>
                </a:gridCol>
                <a:gridCol w="4114800">
                  <a:extLst>
                    <a:ext uri="{9D8B030D-6E8A-4147-A177-3AD203B41FA5}">
                      <a16:colId xmlns:a16="http://schemas.microsoft.com/office/drawing/2014/main" val="4209345315"/>
                    </a:ext>
                  </a:extLst>
                </a:gridCol>
                <a:gridCol w="947651">
                  <a:extLst>
                    <a:ext uri="{9D8B030D-6E8A-4147-A177-3AD203B41FA5}">
                      <a16:colId xmlns:a16="http://schemas.microsoft.com/office/drawing/2014/main" val="1153404873"/>
                    </a:ext>
                  </a:extLst>
                </a:gridCol>
              </a:tblGrid>
              <a:tr h="1243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№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Название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Квартал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4963410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товарищество "Садовод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69:40:0100654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259968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Сельхозтехника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581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9542338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Силикатчик-2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27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3431254"/>
                  </a:ext>
                </a:extLst>
              </a:tr>
              <a:tr h="27234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Дружба"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митрово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Черкасского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рфопредприятия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32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7381983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Снабженец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51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557575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Садовод-Любитель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52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4986868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Зеленый дол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55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1313136"/>
                  </a:ext>
                </a:extLst>
              </a:tr>
              <a:tr h="27234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Коллективный сад № 2 ГУП "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верьгражданпроект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"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56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0758074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оммерческое садоводческое  товарищество "Садовод-Любитель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57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4757517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Силикатчик-1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58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4205214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Восход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60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0390368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оммерческое садоводческое товарищество "Здоровье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62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006786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чное некоммерческое товарищество "Мир-4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63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0747486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Заря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34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1156477"/>
                  </a:ext>
                </a:extLst>
              </a:tr>
              <a:tr h="1243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товарищество "Бор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100638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7724130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Дружба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200084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6566680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За мир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200086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2281256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Лазурный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200087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5493401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Ручейки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200282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332800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товарищество "Трамвайщик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200283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9989474"/>
                  </a:ext>
                </a:extLst>
              </a:tr>
              <a:tr h="27234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собственников недвижимости "Энергетик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200284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6113438"/>
                  </a:ext>
                </a:extLst>
              </a:tr>
              <a:tr h="27234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товарищество собственников недвижимости "Полиграфист-2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200285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9123262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Здоровье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200287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9105580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Химик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200288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514340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Мичуринец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200289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9970619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Стальмонтаж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200290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9480421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Электросеть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200291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2410531"/>
                  </a:ext>
                </a:extLst>
              </a:tr>
              <a:tr h="183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дческое некоммерческое товарищество "Мичуринец-1"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:40:0200292</a:t>
                      </a:r>
                    </a:p>
                  </a:txBody>
                  <a:tcPr marL="4634" marR="4634" marT="4634" marB="0" anchor="ctr">
                    <a:lnL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81614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8660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EBC476-9252-C343-9FCE-489A77E2EA66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>
                  <a:glow rad="101600">
                    <a:srgbClr val="008CFF">
                      <a:satMod val="175000"/>
                      <a:alpha val="40000"/>
                    </a:srgbClr>
                  </a:glow>
                </a:effectLst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656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glow rad="101600">
                  <a:srgbClr val="008CFF">
                    <a:satMod val="175000"/>
                    <a:alpha val="40000"/>
                  </a:srgbClr>
                </a:glo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имрский </a:t>
            </a:r>
            <a:r>
              <a:rPr lang="ru-RU" dirty="0"/>
              <a:t>муниципальный округ</a:t>
            </a:r>
          </a:p>
        </p:txBody>
      </p:sp>
      <p:sp>
        <p:nvSpPr>
          <p:cNvPr id="7" name="Овал 6"/>
          <p:cNvSpPr/>
          <p:nvPr/>
        </p:nvSpPr>
        <p:spPr>
          <a:xfrm>
            <a:off x="825761" y="969647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64002" y="835541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12" name="Овал 11"/>
          <p:cNvSpPr/>
          <p:nvPr/>
        </p:nvSpPr>
        <p:spPr>
          <a:xfrm>
            <a:off x="5294242" y="4594223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158785" y="4333829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5555939" y="4796500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479917" y="4542800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346395" y="4891846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5345617" y="4870862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5165076" y="4908528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017989" y="4954192"/>
            <a:ext cx="4009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Овал 25"/>
          <p:cNvSpPr/>
          <p:nvPr/>
        </p:nvSpPr>
        <p:spPr>
          <a:xfrm>
            <a:off x="5158785" y="476167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987344" y="4507628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Овал 28"/>
          <p:cNvSpPr/>
          <p:nvPr/>
        </p:nvSpPr>
        <p:spPr>
          <a:xfrm>
            <a:off x="4826778" y="4808378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351717" y="4527718"/>
            <a:ext cx="7088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-20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4938746" y="4319126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Овал 31"/>
          <p:cNvSpPr/>
          <p:nvPr/>
        </p:nvSpPr>
        <p:spPr>
          <a:xfrm>
            <a:off x="5113059" y="4328932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851851" y="4045687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025902" y="4070367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</a:p>
        </p:txBody>
      </p:sp>
      <p:sp>
        <p:nvSpPr>
          <p:cNvPr id="35" name="Овал 34"/>
          <p:cNvSpPr/>
          <p:nvPr/>
        </p:nvSpPr>
        <p:spPr>
          <a:xfrm>
            <a:off x="4063670" y="3570635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976775" y="3297196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Овал 36"/>
          <p:cNvSpPr/>
          <p:nvPr/>
        </p:nvSpPr>
        <p:spPr>
          <a:xfrm>
            <a:off x="4001324" y="3784498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034739" y="3677566"/>
            <a:ext cx="3561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4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Овал 38"/>
          <p:cNvSpPr/>
          <p:nvPr/>
        </p:nvSpPr>
        <p:spPr>
          <a:xfrm>
            <a:off x="924617" y="1111750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968084" y="987406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3200723" y="3526804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Овал 41"/>
          <p:cNvSpPr/>
          <p:nvPr/>
        </p:nvSpPr>
        <p:spPr>
          <a:xfrm>
            <a:off x="3005206" y="2920668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Овал 42"/>
          <p:cNvSpPr/>
          <p:nvPr/>
        </p:nvSpPr>
        <p:spPr>
          <a:xfrm>
            <a:off x="2587085" y="2582113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238975" y="3357527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861405" y="2644459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Овал 47"/>
          <p:cNvSpPr/>
          <p:nvPr/>
        </p:nvSpPr>
        <p:spPr>
          <a:xfrm>
            <a:off x="2599554" y="2726878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599554" y="2344407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612023" y="2568701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4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Овал 50"/>
          <p:cNvSpPr/>
          <p:nvPr/>
        </p:nvSpPr>
        <p:spPr>
          <a:xfrm>
            <a:off x="3929548" y="3943059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920927" y="3868370"/>
            <a:ext cx="4700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3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Овал 52"/>
          <p:cNvSpPr/>
          <p:nvPr/>
        </p:nvSpPr>
        <p:spPr>
          <a:xfrm>
            <a:off x="750050" y="1135982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68595" y="1174647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5113059" y="1961804"/>
            <a:ext cx="45726" cy="382603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5158785" y="2344407"/>
            <a:ext cx="78965" cy="237706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5237750" y="2582113"/>
            <a:ext cx="407125" cy="400900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>
            <a:off x="5680630" y="2983013"/>
            <a:ext cx="97767" cy="167511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 flipH="1">
            <a:off x="5470308" y="3150524"/>
            <a:ext cx="308089" cy="376280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>
            <a:endCxn id="22" idx="2"/>
          </p:cNvCxnSpPr>
          <p:nvPr/>
        </p:nvCxnSpPr>
        <p:spPr>
          <a:xfrm>
            <a:off x="5470308" y="3526804"/>
            <a:ext cx="25327" cy="1703596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>
            <a:stCxn id="22" idx="2"/>
          </p:cNvCxnSpPr>
          <p:nvPr/>
        </p:nvCxnSpPr>
        <p:spPr>
          <a:xfrm flipH="1">
            <a:off x="5470308" y="5230400"/>
            <a:ext cx="25327" cy="713200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 flipH="1">
            <a:off x="4126015" y="5935287"/>
            <a:ext cx="1353902" cy="482138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7294431" y="917576"/>
          <a:ext cx="4815097" cy="566419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8286">
                  <a:extLst>
                    <a:ext uri="{9D8B030D-6E8A-4147-A177-3AD203B41FA5}">
                      <a16:colId xmlns:a16="http://schemas.microsoft.com/office/drawing/2014/main" val="579196245"/>
                    </a:ext>
                  </a:extLst>
                </a:gridCol>
                <a:gridCol w="1179174">
                  <a:extLst>
                    <a:ext uri="{9D8B030D-6E8A-4147-A177-3AD203B41FA5}">
                      <a16:colId xmlns:a16="http://schemas.microsoft.com/office/drawing/2014/main" val="1046115499"/>
                    </a:ext>
                  </a:extLst>
                </a:gridCol>
                <a:gridCol w="3317637">
                  <a:extLst>
                    <a:ext uri="{9D8B030D-6E8A-4147-A177-3AD203B41FA5}">
                      <a16:colId xmlns:a16="http://schemas.microsoft.com/office/drawing/2014/main" val="2556763057"/>
                    </a:ext>
                  </a:extLst>
                </a:gridCol>
              </a:tblGrid>
              <a:tr h="15605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звание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Квартал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3390838"/>
                  </a:ext>
                </a:extLst>
              </a:tr>
              <a:tr h="4854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/т "Восточное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1415, 69:42:0071416, 69:42:0071417, 69:42:0071418, 69:42:0071419, 69:42:0071420, 69:42:0071421, 69:42:0071422, 69:42:0071423, 69:42:0071424, 69:42:0071425, 69:42:0071426, 69:42:0071438, 69:42:0071439, 69:42:0071440, 69:42:0071441, 69:42:0071442, 69:42:0071443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1160581"/>
                  </a:ext>
                </a:extLst>
              </a:tr>
              <a:tr h="3224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2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нт "Железнодорожник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1202, 69:42:0071203, 69:42:0071204, 69:42:0071212, 69:42:0071213, 69:42:0071214, 69:42:0071215, 69:42:0071216, 69:42:0071217, 69:42:0071218, 69:42:0071219 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4660162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3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/т "Коньков Ручей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0807, 69:42:0070808, 69:42:0070809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7393558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4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нт "Красная Звезда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0812, 69:42:0070813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1243680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5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/т "Нива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 69:42:0071226, 69:42:0071227, 69:42:0071228, 69:42:0071229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8906429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6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/т "Обувщик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14:0216301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9106662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7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/т "Октябрьской жд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0101, 69:42:0070106, 69:42:0070112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0749233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8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/т "Осинка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0102, 69:42:0070105, 69:42:0070108, 69:42:0070111, </a:t>
                      </a:r>
                      <a:r>
                        <a:rPr lang="ru-RU" sz="700" u="none" strike="noStrike" dirty="0" smtClean="0">
                          <a:effectLst/>
                        </a:rPr>
                        <a:t>69:42:0070114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6743745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9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/т "Репка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 smtClean="0">
                          <a:effectLst/>
                        </a:rPr>
                        <a:t>69:42:0071205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745141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0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/т "Рябинка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1301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6850045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1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/т "Сад-5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0734, 69:42:0070735, 69:42:0070736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2859783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2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нт "Селянка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0659, 69:42:0070660, 69:42:0070661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493712"/>
                  </a:ext>
                </a:extLst>
              </a:tr>
              <a:tr h="2165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3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нт "Труженик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1427, 69:42:0071429, 69:42:0071430, 69:42:0071436, 69:42:0071437, 69:42:0071445, 69:42:0071446, 69:42:0071451, 69:42:0071452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6632585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4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с/т "Шелковка"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0624, 69:42:0070625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82431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5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с/т "Шельф"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0816, 69:42:0070817, 69:42:0070818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443578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6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с/т "Южный сад-1"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0648, 69:42:0070649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8229653"/>
                  </a:ext>
                </a:extLst>
              </a:tr>
              <a:tr h="2165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7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с/т "Южный сад-2"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0103, 69:42:0070104, 69:42:0070109, 69:42:0070110, 69:42:0070115, 69:42:0070116, 69:42:0070125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4106237"/>
                  </a:ext>
                </a:extLst>
              </a:tr>
              <a:tr h="2165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8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с/т "Южный сад-3"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1222, 69:42:0071223, 69:42:0071234, 69:42:0071235, 69:42:0071236, 69:42:0071237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601628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9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с/т "Южный сад-4"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1409, 69:42:0071410, 69:42:0071411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870970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20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с/т "Южный сад-5"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1412, 69:42:0071413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4311941"/>
                  </a:ext>
                </a:extLst>
              </a:tr>
              <a:tr h="2165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21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с/т "Южный сад-6"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1431, 69:42:0071432, 69:42:0071433, 69:42:0071434, 69:42:0071435, 69:42:0071447, 69:42:0071448, 69:42:0071449, 69:42:0071450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647538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22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нт "Лесное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1221, 69:42:0071238, 69:42:0071408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1720542"/>
                  </a:ext>
                </a:extLst>
              </a:tr>
              <a:tr h="2792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</a:rPr>
                        <a:t>2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нт "Станкостроитель-2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0760, 69:42:0070761, 69:42:0070762, 69:42:0070763, 69:42:0070764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14992"/>
                  </a:ext>
                </a:extLst>
              </a:tr>
              <a:tr h="2792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</a:rPr>
                        <a:t>2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нт "Зачарованный берег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69:42:0070824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769300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</a:rPr>
                        <a:t>2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с/т "Восточный"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отсутствует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4184052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</a:rPr>
                        <a:t>2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с/т "Геофизик"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отсутствует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5376919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</a:rPr>
                        <a:t>2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с/к "Звезда"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отсутствует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256641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</a:rPr>
                        <a:t>2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с/т "Комплекс"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отсутствует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8056631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с/т "Сад 1"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отсутствует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5037763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</a:rPr>
                        <a:t>3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/т "Ильинка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отсутствует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5222314"/>
                  </a:ext>
                </a:extLst>
              </a:tr>
              <a:tr h="141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smtClean="0">
                          <a:effectLst/>
                        </a:rPr>
                        <a:t>31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с/т "Одуванчик"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dirty="0">
                          <a:effectLst/>
                        </a:rPr>
                        <a:t>отсутствует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819" marR="4819" marT="4819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953462"/>
                  </a:ext>
                </a:extLst>
              </a:tr>
            </a:tbl>
          </a:graphicData>
        </a:graphic>
      </p:graphicFrame>
      <p:sp>
        <p:nvSpPr>
          <p:cNvPr id="56" name="Овал 55"/>
          <p:cNvSpPr/>
          <p:nvPr/>
        </p:nvSpPr>
        <p:spPr>
          <a:xfrm>
            <a:off x="3318891" y="3922793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2948059" y="3773782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3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Овал 58"/>
          <p:cNvSpPr/>
          <p:nvPr/>
        </p:nvSpPr>
        <p:spPr>
          <a:xfrm>
            <a:off x="3537455" y="4503106"/>
            <a:ext cx="83951" cy="9419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3125163" y="4326094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8C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8C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 cstate="print"/>
          <a:srcRect l="19129" t="25025" r="34752" b="11824"/>
          <a:stretch/>
        </p:blipFill>
        <p:spPr>
          <a:xfrm>
            <a:off x="187183" y="931893"/>
            <a:ext cx="7020846" cy="5649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418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EBC476-9252-C343-9FCE-489A77E2EA66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жевский муниципальный округ</a:t>
            </a:r>
            <a:endParaRPr lang="ru-RU" sz="3600" dirty="0">
              <a:solidFill>
                <a:srgbClr val="FF0000"/>
              </a:solidFill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4341725" y="5454088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1707054" y="5685710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/>
          <p:cNvSpPr/>
          <p:nvPr/>
        </p:nvSpPr>
        <p:spPr>
          <a:xfrm>
            <a:off x="3437313" y="2993618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/>
          <p:cNvSpPr/>
          <p:nvPr/>
        </p:nvSpPr>
        <p:spPr>
          <a:xfrm>
            <a:off x="3804000" y="2943378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4192484" y="486571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4105590" y="5347156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</a:t>
            </a:r>
            <a:endParaRPr lang="ru-RU" sz="16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3376783" y="2747382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</a:t>
            </a:r>
            <a:endParaRPr lang="ru-RU" sz="16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3594477" y="2852175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3</a:t>
            </a:r>
            <a:endParaRPr lang="ru-RU" sz="16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3902034" y="4634278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4</a:t>
            </a:r>
            <a:endParaRPr lang="ru-RU" sz="16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1707054" y="5449065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5</a:t>
            </a:r>
            <a:endParaRPr lang="ru-RU" sz="1600" b="1" dirty="0"/>
          </a:p>
        </p:txBody>
      </p:sp>
      <p:sp>
        <p:nvSpPr>
          <p:cNvPr id="17" name="Овал 16"/>
          <p:cNvSpPr/>
          <p:nvPr/>
        </p:nvSpPr>
        <p:spPr>
          <a:xfrm>
            <a:off x="1516512" y="1791217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1316840" y="1782491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6</a:t>
            </a:r>
            <a:endParaRPr lang="ru-RU" sz="1600" b="1" dirty="0"/>
          </a:p>
        </p:txBody>
      </p:sp>
      <p:sp>
        <p:nvSpPr>
          <p:cNvPr id="19" name="Овал 18"/>
          <p:cNvSpPr/>
          <p:nvPr/>
        </p:nvSpPr>
        <p:spPr>
          <a:xfrm>
            <a:off x="3365832" y="3599589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3138833" y="3410449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7</a:t>
            </a:r>
            <a:endParaRPr lang="ru-RU" sz="1600" b="1" dirty="0"/>
          </a:p>
        </p:txBody>
      </p:sp>
      <p:sp>
        <p:nvSpPr>
          <p:cNvPr id="21" name="Овал 20"/>
          <p:cNvSpPr/>
          <p:nvPr/>
        </p:nvSpPr>
        <p:spPr>
          <a:xfrm>
            <a:off x="3839689" y="2769568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3633427" y="2584846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8</a:t>
            </a:r>
            <a:endParaRPr lang="ru-RU" sz="1600" b="1" dirty="0"/>
          </a:p>
        </p:txBody>
      </p:sp>
      <p:sp>
        <p:nvSpPr>
          <p:cNvPr id="23" name="Овал 22"/>
          <p:cNvSpPr/>
          <p:nvPr/>
        </p:nvSpPr>
        <p:spPr>
          <a:xfrm>
            <a:off x="3991913" y="2754123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3854090" y="2486794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9</a:t>
            </a:r>
            <a:endParaRPr lang="ru-RU" sz="1600" b="1" dirty="0"/>
          </a:p>
        </p:txBody>
      </p:sp>
      <p:sp>
        <p:nvSpPr>
          <p:cNvPr id="25" name="Овал 24"/>
          <p:cNvSpPr/>
          <p:nvPr/>
        </p:nvSpPr>
        <p:spPr>
          <a:xfrm>
            <a:off x="2869730" y="2798709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2505800" y="2578105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0</a:t>
            </a:r>
            <a:endParaRPr lang="ru-RU" sz="1600" b="1" dirty="0"/>
          </a:p>
        </p:txBody>
      </p:sp>
      <p:sp>
        <p:nvSpPr>
          <p:cNvPr id="27" name="Овал 26"/>
          <p:cNvSpPr/>
          <p:nvPr/>
        </p:nvSpPr>
        <p:spPr>
          <a:xfrm>
            <a:off x="4090224" y="2584846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/>
          <p:cNvSpPr txBox="1"/>
          <p:nvPr/>
        </p:nvSpPr>
        <p:spPr>
          <a:xfrm>
            <a:off x="3946308" y="2317517"/>
            <a:ext cx="4009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1</a:t>
            </a:r>
            <a:endParaRPr lang="ru-RU" sz="1600" b="1" dirty="0"/>
          </a:p>
        </p:txBody>
      </p:sp>
      <p:sp>
        <p:nvSpPr>
          <p:cNvPr id="29" name="Овал 28"/>
          <p:cNvSpPr/>
          <p:nvPr/>
        </p:nvSpPr>
        <p:spPr>
          <a:xfrm>
            <a:off x="3138833" y="2584845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/>
          <p:cNvSpPr txBox="1"/>
          <p:nvPr/>
        </p:nvSpPr>
        <p:spPr>
          <a:xfrm>
            <a:off x="2963248" y="2302254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2</a:t>
            </a:r>
            <a:endParaRPr lang="ru-RU" sz="1600" b="1" dirty="0"/>
          </a:p>
        </p:txBody>
      </p:sp>
      <p:sp>
        <p:nvSpPr>
          <p:cNvPr id="31" name="Овал 30"/>
          <p:cNvSpPr/>
          <p:nvPr/>
        </p:nvSpPr>
        <p:spPr>
          <a:xfrm>
            <a:off x="4535937" y="4438582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TextBox 31"/>
          <p:cNvSpPr txBox="1"/>
          <p:nvPr/>
        </p:nvSpPr>
        <p:spPr>
          <a:xfrm>
            <a:off x="4207914" y="4277335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3</a:t>
            </a:r>
            <a:endParaRPr lang="ru-RU" sz="1600" b="1" dirty="0"/>
          </a:p>
        </p:txBody>
      </p:sp>
      <p:sp>
        <p:nvSpPr>
          <p:cNvPr id="33" name="Овал 32"/>
          <p:cNvSpPr/>
          <p:nvPr/>
        </p:nvSpPr>
        <p:spPr>
          <a:xfrm>
            <a:off x="4271221" y="2584845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/>
          <p:cNvSpPr txBox="1"/>
          <p:nvPr/>
        </p:nvSpPr>
        <p:spPr>
          <a:xfrm>
            <a:off x="4174933" y="2307867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4</a:t>
            </a:r>
            <a:endParaRPr lang="ru-RU" sz="1600" b="1" dirty="0"/>
          </a:p>
        </p:txBody>
      </p:sp>
      <p:sp>
        <p:nvSpPr>
          <p:cNvPr id="35" name="Овал 34"/>
          <p:cNvSpPr/>
          <p:nvPr/>
        </p:nvSpPr>
        <p:spPr>
          <a:xfrm>
            <a:off x="1068879" y="5123735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TextBox 35"/>
          <p:cNvSpPr txBox="1"/>
          <p:nvPr/>
        </p:nvSpPr>
        <p:spPr>
          <a:xfrm>
            <a:off x="1167600" y="4990402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5</a:t>
            </a:r>
            <a:endParaRPr lang="ru-RU" sz="1600" b="1" dirty="0"/>
          </a:p>
        </p:txBody>
      </p:sp>
      <p:sp>
        <p:nvSpPr>
          <p:cNvPr id="37" name="Овал 36"/>
          <p:cNvSpPr/>
          <p:nvPr/>
        </p:nvSpPr>
        <p:spPr>
          <a:xfrm>
            <a:off x="3896464" y="307898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7"/>
          <p:cNvSpPr txBox="1"/>
          <p:nvPr/>
        </p:nvSpPr>
        <p:spPr>
          <a:xfrm>
            <a:off x="3836093" y="2838479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6</a:t>
            </a:r>
            <a:endParaRPr lang="ru-RU" sz="1600" b="1" dirty="0"/>
          </a:p>
        </p:txBody>
      </p:sp>
      <p:sp>
        <p:nvSpPr>
          <p:cNvPr id="39" name="Овал 38"/>
          <p:cNvSpPr/>
          <p:nvPr/>
        </p:nvSpPr>
        <p:spPr>
          <a:xfrm>
            <a:off x="1296017" y="4214989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TextBox 39"/>
          <p:cNvSpPr txBox="1"/>
          <p:nvPr/>
        </p:nvSpPr>
        <p:spPr>
          <a:xfrm>
            <a:off x="1259934" y="3973877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7</a:t>
            </a:r>
            <a:endParaRPr lang="ru-RU" sz="1600" b="1" dirty="0"/>
          </a:p>
        </p:txBody>
      </p:sp>
      <p:sp>
        <p:nvSpPr>
          <p:cNvPr id="41" name="Овал 40"/>
          <p:cNvSpPr/>
          <p:nvPr/>
        </p:nvSpPr>
        <p:spPr>
          <a:xfrm>
            <a:off x="3003592" y="2707222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/>
          <p:cNvSpPr txBox="1"/>
          <p:nvPr/>
        </p:nvSpPr>
        <p:spPr>
          <a:xfrm>
            <a:off x="2725929" y="2444113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8</a:t>
            </a:r>
            <a:endParaRPr lang="ru-RU" sz="1600" b="1" dirty="0"/>
          </a:p>
        </p:txBody>
      </p:sp>
      <p:sp>
        <p:nvSpPr>
          <p:cNvPr id="43" name="Овал 42"/>
          <p:cNvSpPr/>
          <p:nvPr/>
        </p:nvSpPr>
        <p:spPr>
          <a:xfrm>
            <a:off x="5045924" y="4384266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TextBox 43"/>
          <p:cNvSpPr txBox="1"/>
          <p:nvPr/>
        </p:nvSpPr>
        <p:spPr>
          <a:xfrm>
            <a:off x="4902123" y="4111799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9</a:t>
            </a:r>
            <a:endParaRPr lang="ru-RU" sz="1600" b="1" dirty="0"/>
          </a:p>
        </p:txBody>
      </p:sp>
      <p:sp>
        <p:nvSpPr>
          <p:cNvPr id="45" name="Овал 44"/>
          <p:cNvSpPr/>
          <p:nvPr/>
        </p:nvSpPr>
        <p:spPr>
          <a:xfrm>
            <a:off x="1042909" y="581040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TextBox 45"/>
          <p:cNvSpPr txBox="1"/>
          <p:nvPr/>
        </p:nvSpPr>
        <p:spPr>
          <a:xfrm>
            <a:off x="905124" y="5547852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0</a:t>
            </a:r>
            <a:endParaRPr lang="ru-RU" sz="1600" b="1" dirty="0"/>
          </a:p>
        </p:txBody>
      </p:sp>
      <p:sp>
        <p:nvSpPr>
          <p:cNvPr id="47" name="Овал 46"/>
          <p:cNvSpPr/>
          <p:nvPr/>
        </p:nvSpPr>
        <p:spPr>
          <a:xfrm>
            <a:off x="4656684" y="4022789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TextBox 47"/>
          <p:cNvSpPr txBox="1"/>
          <p:nvPr/>
        </p:nvSpPr>
        <p:spPr>
          <a:xfrm>
            <a:off x="4298741" y="3840409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1</a:t>
            </a:r>
            <a:endParaRPr lang="ru-RU" sz="1600" b="1" dirty="0"/>
          </a:p>
        </p:txBody>
      </p:sp>
      <p:sp>
        <p:nvSpPr>
          <p:cNvPr id="49" name="Овал 48"/>
          <p:cNvSpPr/>
          <p:nvPr/>
        </p:nvSpPr>
        <p:spPr>
          <a:xfrm>
            <a:off x="2719596" y="2861054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TextBox 49"/>
          <p:cNvSpPr txBox="1"/>
          <p:nvPr/>
        </p:nvSpPr>
        <p:spPr>
          <a:xfrm>
            <a:off x="2330131" y="2682898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2</a:t>
            </a:r>
            <a:endParaRPr lang="ru-RU" sz="1600" b="1" dirty="0"/>
          </a:p>
        </p:txBody>
      </p:sp>
      <p:sp>
        <p:nvSpPr>
          <p:cNvPr id="51" name="TextBox 50"/>
          <p:cNvSpPr txBox="1"/>
          <p:nvPr/>
        </p:nvSpPr>
        <p:spPr>
          <a:xfrm>
            <a:off x="2658200" y="2730505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0</a:t>
            </a:r>
            <a:endParaRPr lang="ru-RU" sz="1600" b="1" dirty="0"/>
          </a:p>
        </p:txBody>
      </p:sp>
      <p:sp>
        <p:nvSpPr>
          <p:cNvPr id="52" name="Овал 51"/>
          <p:cNvSpPr/>
          <p:nvPr/>
        </p:nvSpPr>
        <p:spPr>
          <a:xfrm>
            <a:off x="4103708" y="3893089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TextBox 52"/>
          <p:cNvSpPr txBox="1"/>
          <p:nvPr/>
        </p:nvSpPr>
        <p:spPr>
          <a:xfrm>
            <a:off x="3842537" y="3650893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3</a:t>
            </a:r>
            <a:endParaRPr lang="ru-RU" sz="1600" b="1" dirty="0"/>
          </a:p>
        </p:txBody>
      </p:sp>
      <p:sp>
        <p:nvSpPr>
          <p:cNvPr id="54" name="Овал 53"/>
          <p:cNvSpPr/>
          <p:nvPr/>
        </p:nvSpPr>
        <p:spPr>
          <a:xfrm>
            <a:off x="1092648" y="542316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TextBox 54"/>
          <p:cNvSpPr txBox="1"/>
          <p:nvPr/>
        </p:nvSpPr>
        <p:spPr>
          <a:xfrm>
            <a:off x="1142443" y="5309392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4</a:t>
            </a:r>
            <a:endParaRPr lang="ru-RU" sz="1600" b="1" dirty="0"/>
          </a:p>
        </p:txBody>
      </p:sp>
      <p:sp>
        <p:nvSpPr>
          <p:cNvPr id="56" name="Овал 55"/>
          <p:cNvSpPr/>
          <p:nvPr/>
        </p:nvSpPr>
        <p:spPr>
          <a:xfrm>
            <a:off x="4075823" y="3164582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TextBox 56"/>
          <p:cNvSpPr txBox="1"/>
          <p:nvPr/>
        </p:nvSpPr>
        <p:spPr>
          <a:xfrm>
            <a:off x="4110651" y="3124862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5</a:t>
            </a:r>
            <a:endParaRPr lang="ru-RU" sz="1600" b="1" dirty="0"/>
          </a:p>
        </p:txBody>
      </p:sp>
      <p:sp>
        <p:nvSpPr>
          <p:cNvPr id="58" name="Овал 57"/>
          <p:cNvSpPr/>
          <p:nvPr/>
        </p:nvSpPr>
        <p:spPr>
          <a:xfrm>
            <a:off x="1648166" y="1614052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TextBox 58"/>
          <p:cNvSpPr txBox="1"/>
          <p:nvPr/>
        </p:nvSpPr>
        <p:spPr>
          <a:xfrm>
            <a:off x="1732435" y="1493219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6</a:t>
            </a:r>
            <a:endParaRPr lang="ru-RU" sz="1600" b="1" dirty="0"/>
          </a:p>
        </p:txBody>
      </p:sp>
      <p:sp>
        <p:nvSpPr>
          <p:cNvPr id="60" name="Овал 59"/>
          <p:cNvSpPr/>
          <p:nvPr/>
        </p:nvSpPr>
        <p:spPr>
          <a:xfrm>
            <a:off x="3723063" y="3156265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TextBox 60"/>
          <p:cNvSpPr txBox="1"/>
          <p:nvPr/>
        </p:nvSpPr>
        <p:spPr>
          <a:xfrm>
            <a:off x="3545789" y="3189976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7</a:t>
            </a:r>
            <a:endParaRPr lang="ru-RU" sz="1600" b="1" dirty="0"/>
          </a:p>
        </p:txBody>
      </p:sp>
      <p:sp>
        <p:nvSpPr>
          <p:cNvPr id="62" name="Овал 61"/>
          <p:cNvSpPr/>
          <p:nvPr/>
        </p:nvSpPr>
        <p:spPr>
          <a:xfrm>
            <a:off x="4003330" y="5561019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TextBox 62"/>
          <p:cNvSpPr txBox="1"/>
          <p:nvPr/>
        </p:nvSpPr>
        <p:spPr>
          <a:xfrm>
            <a:off x="3755986" y="5352251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8</a:t>
            </a:r>
            <a:endParaRPr lang="ru-RU" sz="1600" b="1" dirty="0"/>
          </a:p>
        </p:txBody>
      </p:sp>
      <p:sp>
        <p:nvSpPr>
          <p:cNvPr id="64" name="Овал 63"/>
          <p:cNvSpPr/>
          <p:nvPr/>
        </p:nvSpPr>
        <p:spPr>
          <a:xfrm>
            <a:off x="3494742" y="3226927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TextBox 64"/>
          <p:cNvSpPr txBox="1"/>
          <p:nvPr/>
        </p:nvSpPr>
        <p:spPr>
          <a:xfrm>
            <a:off x="3119632" y="3208799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9</a:t>
            </a:r>
            <a:endParaRPr lang="ru-RU" sz="1600" b="1" dirty="0"/>
          </a:p>
        </p:txBody>
      </p:sp>
      <p:sp>
        <p:nvSpPr>
          <p:cNvPr id="66" name="Овал 65"/>
          <p:cNvSpPr/>
          <p:nvPr/>
        </p:nvSpPr>
        <p:spPr>
          <a:xfrm>
            <a:off x="3290698" y="2997649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TextBox 66"/>
          <p:cNvSpPr txBox="1"/>
          <p:nvPr/>
        </p:nvSpPr>
        <p:spPr>
          <a:xfrm>
            <a:off x="3138833" y="2725020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9</a:t>
            </a:r>
            <a:endParaRPr lang="ru-RU" sz="1600" b="1" dirty="0"/>
          </a:p>
        </p:txBody>
      </p:sp>
      <p:sp>
        <p:nvSpPr>
          <p:cNvPr id="68" name="Овал 67"/>
          <p:cNvSpPr/>
          <p:nvPr/>
        </p:nvSpPr>
        <p:spPr>
          <a:xfrm>
            <a:off x="4798415" y="4009686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TextBox 68"/>
          <p:cNvSpPr txBox="1"/>
          <p:nvPr/>
        </p:nvSpPr>
        <p:spPr>
          <a:xfrm>
            <a:off x="4665149" y="3756534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30</a:t>
            </a:r>
            <a:endParaRPr lang="ru-RU" sz="1600" b="1" dirty="0"/>
          </a:p>
        </p:txBody>
      </p:sp>
      <p:sp>
        <p:nvSpPr>
          <p:cNvPr id="70" name="Овал 69"/>
          <p:cNvSpPr/>
          <p:nvPr/>
        </p:nvSpPr>
        <p:spPr>
          <a:xfrm>
            <a:off x="4531036" y="2587790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TextBox 70"/>
          <p:cNvSpPr txBox="1"/>
          <p:nvPr/>
        </p:nvSpPr>
        <p:spPr>
          <a:xfrm>
            <a:off x="4597482" y="2500526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31</a:t>
            </a:r>
            <a:endParaRPr lang="ru-RU" sz="1600" b="1" dirty="0"/>
          </a:p>
        </p:txBody>
      </p:sp>
      <p:sp>
        <p:nvSpPr>
          <p:cNvPr id="72" name="Овал 71"/>
          <p:cNvSpPr/>
          <p:nvPr/>
        </p:nvSpPr>
        <p:spPr>
          <a:xfrm>
            <a:off x="3896464" y="3271474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TextBox 72"/>
          <p:cNvSpPr txBox="1"/>
          <p:nvPr/>
        </p:nvSpPr>
        <p:spPr>
          <a:xfrm>
            <a:off x="3794757" y="3313822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31</a:t>
            </a:r>
            <a:endParaRPr lang="ru-RU" sz="1600" b="1" dirty="0"/>
          </a:p>
        </p:txBody>
      </p:sp>
      <p:sp>
        <p:nvSpPr>
          <p:cNvPr id="74" name="Овал 73"/>
          <p:cNvSpPr/>
          <p:nvPr/>
        </p:nvSpPr>
        <p:spPr>
          <a:xfrm>
            <a:off x="3303574" y="314904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TextBox 74"/>
          <p:cNvSpPr txBox="1"/>
          <p:nvPr/>
        </p:nvSpPr>
        <p:spPr>
          <a:xfrm>
            <a:off x="2940751" y="3064283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32</a:t>
            </a:r>
            <a:endParaRPr lang="ru-RU" sz="1600" b="1" dirty="0"/>
          </a:p>
        </p:txBody>
      </p:sp>
      <p:sp>
        <p:nvSpPr>
          <p:cNvPr id="76" name="Овал 75"/>
          <p:cNvSpPr/>
          <p:nvPr/>
        </p:nvSpPr>
        <p:spPr>
          <a:xfrm>
            <a:off x="4495251" y="2416336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TextBox 76"/>
          <p:cNvSpPr txBox="1"/>
          <p:nvPr/>
        </p:nvSpPr>
        <p:spPr>
          <a:xfrm>
            <a:off x="4439470" y="2166436"/>
            <a:ext cx="4122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33</a:t>
            </a:r>
          </a:p>
          <a:p>
            <a:endParaRPr lang="ru-RU" sz="1600" b="1" dirty="0"/>
          </a:p>
        </p:txBody>
      </p:sp>
      <p:cxnSp>
        <p:nvCxnSpPr>
          <p:cNvPr id="78" name="Прямая соединительная линия 77"/>
          <p:cNvCxnSpPr/>
          <p:nvPr/>
        </p:nvCxnSpPr>
        <p:spPr>
          <a:xfrm>
            <a:off x="3220886" y="1776782"/>
            <a:ext cx="368741" cy="375342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>
            <a:off x="3480231" y="1994584"/>
            <a:ext cx="242832" cy="100449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/>
          <p:cNvCxnSpPr/>
          <p:nvPr/>
        </p:nvCxnSpPr>
        <p:spPr>
          <a:xfrm>
            <a:off x="3756809" y="2132309"/>
            <a:ext cx="368741" cy="375342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>
            <a:off x="2948301" y="1507942"/>
            <a:ext cx="235272" cy="241350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/>
          <p:cNvCxnSpPr/>
          <p:nvPr/>
        </p:nvCxnSpPr>
        <p:spPr>
          <a:xfrm>
            <a:off x="2781941" y="1186818"/>
            <a:ext cx="111531" cy="270367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/>
        </p:nvCxnSpPr>
        <p:spPr>
          <a:xfrm>
            <a:off x="626232" y="5093012"/>
            <a:ext cx="362219" cy="133333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>
            <a:off x="234471" y="4959679"/>
            <a:ext cx="362219" cy="133333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>
            <a:off x="4988352" y="6239167"/>
            <a:ext cx="515258" cy="3051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aphicFrame>
        <p:nvGraphicFramePr>
          <p:cNvPr id="87" name="Таблица 86"/>
          <p:cNvGraphicFramePr>
            <a:graphicFrameLocks noGrp="1"/>
          </p:cNvGraphicFramePr>
          <p:nvPr>
            <p:extLst/>
          </p:nvPr>
        </p:nvGraphicFramePr>
        <p:xfrm>
          <a:off x="8037096" y="752978"/>
          <a:ext cx="4070464" cy="58251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4529">
                  <a:extLst>
                    <a:ext uri="{9D8B030D-6E8A-4147-A177-3AD203B41FA5}">
                      <a16:colId xmlns:a16="http://schemas.microsoft.com/office/drawing/2014/main" val="3446441887"/>
                    </a:ext>
                  </a:extLst>
                </a:gridCol>
                <a:gridCol w="2684554">
                  <a:extLst>
                    <a:ext uri="{9D8B030D-6E8A-4147-A177-3AD203B41FA5}">
                      <a16:colId xmlns:a16="http://schemas.microsoft.com/office/drawing/2014/main" val="3727426321"/>
                    </a:ext>
                  </a:extLst>
                </a:gridCol>
                <a:gridCol w="1011381">
                  <a:extLst>
                    <a:ext uri="{9D8B030D-6E8A-4147-A177-3AD203B41FA5}">
                      <a16:colId xmlns:a16="http://schemas.microsoft.com/office/drawing/2014/main" val="2457723088"/>
                    </a:ext>
                  </a:extLst>
                </a:gridCol>
              </a:tblGrid>
              <a:tr h="15326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480" marR="5480" marT="548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звание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480" marR="5480" marT="548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вартал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5480" marR="5480" marT="548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4295734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НТ 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«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оча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»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90862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2138169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Ржевского ГОВД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70234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06441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№2 ПО «Электромеханика»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191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6245598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№1 ПО «Электромеханика»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353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7127504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маслоэкстракционного завода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90219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1594423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Коллективный сад РМЗ №3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70108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188412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Коллективный сад по ул.Разина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70610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0632174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ХСМУ-2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167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477338"/>
                  </a:ext>
                </a:extLst>
              </a:tr>
              <a:tr h="301201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Коллективный сад Управления сельского хозяйства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186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3721298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СМП-626 «Строитель»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162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127857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Коллективный сад «Строитель»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166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4881737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ст. Ржев-1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164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788920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№1 ПО «Ржевбашкран»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350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5596769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«Скорая помощь»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166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380565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«Мелихово»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90316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3648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«Медик»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185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4067588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Льночесальной фабрики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90308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9581476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НГЧ-16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178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445384"/>
                  </a:ext>
                </a:extLst>
              </a:tr>
              <a:tr h="301201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завода ПО «Ржевбашкран» «Восточный-3»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360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6558646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«Надежда» завода АТЭ-3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90405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8775366"/>
                  </a:ext>
                </a:extLst>
              </a:tr>
              <a:tr h="301201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завода ПО «Ржевбашкран» «Восточный-2»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364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2591177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вагонного депо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70205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5346002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«Березка «в/ч №26276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362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7910155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«Железнодорожник»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90325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3262877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№3 ПО «Электромеханика»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193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264012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Ремонтно-механического завода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70102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9635714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Пожарной охраны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198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696783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№1 Завода АТЭ-3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90845</a:t>
                      </a:r>
                      <a:endParaRPr lang="ru-RU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4309620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учреждения ОН-55/7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70234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714099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№4 ПО "Электромеханика"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364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7173462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«Мичуринец»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189 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7286740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Добровольного пожарного общества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167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455"/>
                  </a:ext>
                </a:extLst>
              </a:tr>
              <a:tr h="153260"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Т Женской консультации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9:46:0080166</a:t>
                      </a:r>
                    </a:p>
                  </a:txBody>
                  <a:tcPr marL="5480" marR="5480" marT="548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2513922"/>
                  </a:ext>
                </a:extLst>
              </a:tr>
            </a:tbl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/>
          <a:srcRect l="19055" t="25025" r="30125" b="13416"/>
          <a:stretch/>
        </p:blipFill>
        <p:spPr>
          <a:xfrm>
            <a:off x="82916" y="967570"/>
            <a:ext cx="7876477" cy="5366645"/>
          </a:xfrm>
          <a:prstGeom prst="rect">
            <a:avLst/>
          </a:prstGeom>
        </p:spPr>
      </p:pic>
      <p:graphicFrame>
        <p:nvGraphicFramePr>
          <p:cNvPr id="86" name="Таблица 85"/>
          <p:cNvGraphicFramePr>
            <a:graphicFrameLocks noGrp="1"/>
          </p:cNvGraphicFramePr>
          <p:nvPr>
            <p:extLst/>
          </p:nvPr>
        </p:nvGraphicFramePr>
        <p:xfrm>
          <a:off x="5419898" y="752978"/>
          <a:ext cx="2552436" cy="1400875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190775">
                  <a:extLst>
                    <a:ext uri="{9D8B030D-6E8A-4147-A177-3AD203B41FA5}">
                      <a16:colId xmlns:a16="http://schemas.microsoft.com/office/drawing/2014/main" val="3312005695"/>
                    </a:ext>
                  </a:extLst>
                </a:gridCol>
                <a:gridCol w="1203855">
                  <a:extLst>
                    <a:ext uri="{9D8B030D-6E8A-4147-A177-3AD203B41FA5}">
                      <a16:colId xmlns:a16="http://schemas.microsoft.com/office/drawing/2014/main" val="1787469972"/>
                    </a:ext>
                  </a:extLst>
                </a:gridCol>
                <a:gridCol w="1157806">
                  <a:extLst>
                    <a:ext uri="{9D8B030D-6E8A-4147-A177-3AD203B41FA5}">
                      <a16:colId xmlns:a16="http://schemas.microsoft.com/office/drawing/2014/main" val="2660742808"/>
                    </a:ext>
                  </a:extLst>
                </a:gridCol>
              </a:tblGrid>
              <a:tr h="200875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</a:t>
                      </a:r>
                      <a:endParaRPr lang="ru-RU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звание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артал</a:t>
                      </a:r>
                      <a:endParaRPr lang="ru-RU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9237790"/>
                  </a:ext>
                </a:extLst>
              </a:tr>
              <a:tr h="165050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лективный Сад "Холынка"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69:46:0080159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0382551"/>
                  </a:ext>
                </a:extLst>
              </a:tr>
              <a:tr h="165050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/т «Восточный-4»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6:0080373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9798364"/>
                  </a:ext>
                </a:extLst>
              </a:tr>
              <a:tr h="165050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лективный Сад Кирпичного завода (СНТ "Заря«)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6:0070114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192595"/>
                  </a:ext>
                </a:extLst>
              </a:tr>
              <a:tr h="165050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dirty="0" smtClean="0">
                          <a:effectLst/>
                        </a:rPr>
                        <a:t>СНТ</a:t>
                      </a:r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«Смородинка»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27:0331701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301701"/>
                  </a:ext>
                </a:extLst>
              </a:tr>
              <a:tr h="165050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/т "Нижний Бор"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27:0331703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4796513"/>
                  </a:ext>
                </a:extLst>
              </a:tr>
            </a:tbl>
          </a:graphicData>
        </a:graphic>
      </p:graphicFrame>
      <p:sp>
        <p:nvSpPr>
          <p:cNvPr id="90" name="Овал 89"/>
          <p:cNvSpPr/>
          <p:nvPr/>
        </p:nvSpPr>
        <p:spPr>
          <a:xfrm>
            <a:off x="3434567" y="3152470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TextBox 91"/>
          <p:cNvSpPr txBox="1"/>
          <p:nvPr/>
        </p:nvSpPr>
        <p:spPr>
          <a:xfrm>
            <a:off x="3379053" y="3035447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34</a:t>
            </a:r>
            <a:endParaRPr lang="ru-RU" sz="1600" b="1" dirty="0"/>
          </a:p>
        </p:txBody>
      </p:sp>
      <p:sp>
        <p:nvSpPr>
          <p:cNvPr id="94" name="TextBox 93"/>
          <p:cNvSpPr txBox="1"/>
          <p:nvPr/>
        </p:nvSpPr>
        <p:spPr>
          <a:xfrm>
            <a:off x="5398214" y="4335965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35</a:t>
            </a:r>
            <a:endParaRPr lang="ru-RU" sz="1600" b="1" dirty="0"/>
          </a:p>
        </p:txBody>
      </p:sp>
      <p:sp>
        <p:nvSpPr>
          <p:cNvPr id="95" name="Овал 94"/>
          <p:cNvSpPr/>
          <p:nvPr/>
        </p:nvSpPr>
        <p:spPr>
          <a:xfrm>
            <a:off x="5441264" y="4629060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Овал 95"/>
          <p:cNvSpPr/>
          <p:nvPr/>
        </p:nvSpPr>
        <p:spPr>
          <a:xfrm>
            <a:off x="2029982" y="1869893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Овал 96"/>
          <p:cNvSpPr/>
          <p:nvPr/>
        </p:nvSpPr>
        <p:spPr>
          <a:xfrm>
            <a:off x="4504887" y="5592438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" name="Овал 97"/>
          <p:cNvSpPr/>
          <p:nvPr/>
        </p:nvSpPr>
        <p:spPr>
          <a:xfrm>
            <a:off x="4655727" y="5699325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TextBox 98"/>
          <p:cNvSpPr txBox="1"/>
          <p:nvPr/>
        </p:nvSpPr>
        <p:spPr>
          <a:xfrm>
            <a:off x="2069341" y="1769324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36</a:t>
            </a:r>
            <a:endParaRPr lang="ru-RU" sz="1600" b="1" dirty="0"/>
          </a:p>
        </p:txBody>
      </p:sp>
      <p:sp>
        <p:nvSpPr>
          <p:cNvPr id="100" name="TextBox 99"/>
          <p:cNvSpPr txBox="1"/>
          <p:nvPr/>
        </p:nvSpPr>
        <p:spPr>
          <a:xfrm>
            <a:off x="4508618" y="5367243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37</a:t>
            </a:r>
            <a:endParaRPr lang="ru-RU" sz="1600" b="1" dirty="0"/>
          </a:p>
        </p:txBody>
      </p:sp>
      <p:sp>
        <p:nvSpPr>
          <p:cNvPr id="101" name="TextBox 100"/>
          <p:cNvSpPr txBox="1"/>
          <p:nvPr/>
        </p:nvSpPr>
        <p:spPr>
          <a:xfrm>
            <a:off x="4712312" y="5618342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38</a:t>
            </a:r>
            <a:endParaRPr lang="ru-RU" sz="1600" b="1" dirty="0"/>
          </a:p>
        </p:txBody>
      </p:sp>
    </p:spTree>
    <p:extLst>
      <p:ext uri="{BB962C8B-B14F-4D97-AF65-F5344CB8AC3E}">
        <p14:creationId xmlns:p14="http://schemas.microsoft.com/office/powerpoint/2010/main" val="278601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наковский муниципальный округ</a:t>
            </a:r>
            <a:endParaRPr lang="ru-RU" dirty="0"/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/>
          </p:nvPr>
        </p:nvGraphicFramePr>
        <p:xfrm>
          <a:off x="3984452" y="1077717"/>
          <a:ext cx="3453996" cy="54195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2264">
                  <a:extLst>
                    <a:ext uri="{9D8B030D-6E8A-4147-A177-3AD203B41FA5}">
                      <a16:colId xmlns:a16="http://schemas.microsoft.com/office/drawing/2014/main" val="1487717926"/>
                    </a:ext>
                  </a:extLst>
                </a:gridCol>
                <a:gridCol w="1698448">
                  <a:extLst>
                    <a:ext uri="{9D8B030D-6E8A-4147-A177-3AD203B41FA5}">
                      <a16:colId xmlns:a16="http://schemas.microsoft.com/office/drawing/2014/main" val="2651852300"/>
                    </a:ext>
                  </a:extLst>
                </a:gridCol>
                <a:gridCol w="1453284">
                  <a:extLst>
                    <a:ext uri="{9D8B030D-6E8A-4147-A177-3AD203B41FA5}">
                      <a16:colId xmlns:a16="http://schemas.microsoft.com/office/drawing/2014/main" val="3802304806"/>
                    </a:ext>
                  </a:extLst>
                </a:gridCol>
              </a:tblGrid>
              <a:tr h="25701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№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звание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Квартал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534132"/>
                  </a:ext>
                </a:extLst>
              </a:tr>
              <a:tr h="2114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>
                          <a:effectLst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СНТ </a:t>
                      </a:r>
                      <a:r>
                        <a:rPr lang="ru-RU" sz="1000" u="none" strike="noStrike" dirty="0">
                          <a:effectLst/>
                        </a:rPr>
                        <a:t>"Волга-1 (№1 КГРЭС)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>
                          <a:effectLst/>
                        </a:rPr>
                        <a:t>69:43:0070205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2914901"/>
                  </a:ext>
                </a:extLst>
              </a:tr>
              <a:tr h="50707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>
                          <a:effectLst/>
                        </a:rPr>
                        <a:t>2</a:t>
                      </a:r>
                      <a:endParaRPr lang="ru-RU" sz="1000" b="0" i="0" u="none" strike="noStrike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>
                          <a:effectLst/>
                        </a:rPr>
                        <a:t>сад. коопер. №2 Конаковский ГРЭС (правопреемник снт Грэс-2)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>
                          <a:effectLst/>
                        </a:rPr>
                        <a:t>69:43:0070213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9444480"/>
                  </a:ext>
                </a:extLst>
              </a:tr>
              <a:tr h="25701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>
                          <a:effectLst/>
                        </a:rPr>
                        <a:t>3</a:t>
                      </a:r>
                      <a:endParaRPr lang="ru-RU" sz="1000" b="0" i="0" u="none" strike="noStrike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СНТ </a:t>
                      </a:r>
                      <a:r>
                        <a:rPr lang="ru-RU" sz="1000" u="none" strike="noStrike" dirty="0">
                          <a:effectLst/>
                        </a:rPr>
                        <a:t>№3 КГРЭС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69:43:0070958, 69:43:00709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0182171"/>
                  </a:ext>
                </a:extLst>
              </a:tr>
              <a:tr h="31435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>
                          <a:effectLst/>
                        </a:rPr>
                        <a:t>4</a:t>
                      </a:r>
                      <a:endParaRPr lang="ru-RU" sz="1000" b="0" i="0" u="none" strike="noStrike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СНТ </a:t>
                      </a:r>
                      <a:r>
                        <a:rPr lang="ru-RU" sz="1000" u="none" strike="noStrike" dirty="0">
                          <a:effectLst/>
                        </a:rPr>
                        <a:t>"Мошковец" (ГРЭС-4)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9:43:0070112- 69:43:007011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1584011"/>
                  </a:ext>
                </a:extLst>
              </a:tr>
              <a:tr h="25701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>
                          <a:effectLst/>
                        </a:rPr>
                        <a:t>5</a:t>
                      </a:r>
                      <a:endParaRPr lang="ru-RU" sz="1000" b="0" i="0" u="none" strike="noStrike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СНТ </a:t>
                      </a:r>
                      <a:r>
                        <a:rPr lang="ru-RU" sz="1000" u="none" strike="noStrike" dirty="0">
                          <a:effectLst/>
                        </a:rPr>
                        <a:t>№5 (с/т №5 ГРЭС)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69:43:0070115-69:43:0070119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1501500"/>
                  </a:ext>
                </a:extLst>
              </a:tr>
              <a:tr h="25701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>
                          <a:effectLst/>
                        </a:rPr>
                        <a:t>6</a:t>
                      </a:r>
                      <a:endParaRPr lang="ru-RU" sz="1000" b="0" i="0" u="none" strike="noStrike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СНТ </a:t>
                      </a:r>
                      <a:r>
                        <a:rPr lang="ru-RU" sz="1000" u="none" strike="noStrike" dirty="0">
                          <a:effectLst/>
                        </a:rPr>
                        <a:t>№6 (с/т №6 ГРЭС)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u="none" strike="noStrike" dirty="0" smtClean="0">
                          <a:effectLst/>
                        </a:rPr>
                        <a:t>69:43:0070120,</a:t>
                      </a:r>
                      <a:endParaRPr lang="ru-RU" sz="1000" b="0" i="0" u="none" strike="noStrike" dirty="0" smtClean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69:43:0070121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5716866"/>
                  </a:ext>
                </a:extLst>
              </a:tr>
              <a:tr h="39755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>
                          <a:effectLst/>
                        </a:rPr>
                        <a:t>7</a:t>
                      </a:r>
                      <a:endParaRPr lang="ru-RU" sz="1000" b="0" i="0" u="none" strike="noStrike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СНТ </a:t>
                      </a:r>
                      <a:r>
                        <a:rPr lang="ru-RU" sz="1000" u="none" strike="noStrike" dirty="0">
                          <a:effectLst/>
                        </a:rPr>
                        <a:t>№7 (снт №7 Мошковского залива)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69:43:0070122-69:43:0070125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5399143"/>
                  </a:ext>
                </a:extLst>
              </a:tr>
              <a:tr h="35744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>
                          <a:effectLst/>
                        </a:rPr>
                        <a:t>8</a:t>
                      </a:r>
                      <a:endParaRPr lang="ru-RU" sz="1000" b="0" i="0" u="none" strike="noStrike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СНТ </a:t>
                      </a:r>
                      <a:r>
                        <a:rPr lang="ru-RU" sz="1000" u="none" strike="noStrike" dirty="0">
                          <a:effectLst/>
                        </a:rPr>
                        <a:t>№ 8 "Ордена Ленина КГРЭС"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69:43:0070126,</a:t>
                      </a:r>
                      <a:r>
                        <a:rPr lang="ru-RU" sz="10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 smtClean="0">
                          <a:effectLst/>
                        </a:rPr>
                        <a:t>69:43:0070127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085902"/>
                  </a:ext>
                </a:extLst>
              </a:tr>
              <a:tr h="25701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>
                          <a:effectLst/>
                        </a:rPr>
                        <a:t>9</a:t>
                      </a:r>
                      <a:endParaRPr lang="ru-RU" sz="1000" b="0" i="0" u="none" strike="noStrike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СНТ </a:t>
                      </a:r>
                      <a:r>
                        <a:rPr lang="ru-RU" sz="1000" u="none" strike="noStrike" dirty="0">
                          <a:effectLst/>
                        </a:rPr>
                        <a:t>"Дружба"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69:43:0070959,</a:t>
                      </a:r>
                      <a:r>
                        <a:rPr lang="ru-RU" sz="10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 smtClean="0">
                          <a:effectLst/>
                        </a:rPr>
                        <a:t>69:43:0070976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52196"/>
                  </a:ext>
                </a:extLst>
              </a:tr>
              <a:tr h="2110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>
                          <a:effectLst/>
                        </a:rPr>
                        <a:t>10</a:t>
                      </a:r>
                      <a:endParaRPr lang="ru-RU" sz="1000" b="0" i="0" u="none" strike="noStrike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СНТ </a:t>
                      </a:r>
                      <a:r>
                        <a:rPr lang="ru-RU" sz="1000" u="none" strike="noStrike" dirty="0">
                          <a:effectLst/>
                        </a:rPr>
                        <a:t>"Связист"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>
                          <a:effectLst/>
                        </a:rPr>
                        <a:t>69:43:0070856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1767692"/>
                  </a:ext>
                </a:extLst>
              </a:tr>
              <a:tr h="22444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>
                          <a:effectLst/>
                        </a:rPr>
                        <a:t>11</a:t>
                      </a:r>
                      <a:endParaRPr lang="ru-RU" sz="1000" b="0" i="0" u="none" strike="noStrike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СНТ </a:t>
                      </a:r>
                      <a:r>
                        <a:rPr lang="ru-RU" sz="1000" u="none" strike="noStrike" dirty="0">
                          <a:effectLst/>
                        </a:rPr>
                        <a:t>"Тяговая подстанция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>
                          <a:effectLst/>
                        </a:rPr>
                        <a:t>69:43:0070857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5286631"/>
                  </a:ext>
                </a:extLst>
              </a:tr>
              <a:tr h="20781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>
                          <a:effectLst/>
                        </a:rPr>
                        <a:t>12</a:t>
                      </a:r>
                      <a:endParaRPr lang="ru-RU" sz="1000" b="0" i="0" u="none" strike="noStrike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СНТ </a:t>
                      </a:r>
                      <a:r>
                        <a:rPr lang="ru-RU" sz="1000" u="none" strike="noStrike" dirty="0">
                          <a:effectLst/>
                        </a:rPr>
                        <a:t>"Отдых"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>
                          <a:effectLst/>
                        </a:rPr>
                        <a:t>69:43:0070744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4698935"/>
                  </a:ext>
                </a:extLst>
              </a:tr>
              <a:tr h="25701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>
                          <a:effectLst/>
                        </a:rPr>
                        <a:t>13</a:t>
                      </a:r>
                      <a:endParaRPr lang="ru-RU" sz="1000" b="0" i="0" u="none" strike="noStrike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СНТ </a:t>
                      </a:r>
                      <a:r>
                        <a:rPr lang="ru-RU" sz="1000" u="none" strike="noStrike" dirty="0">
                          <a:effectLst/>
                        </a:rPr>
                        <a:t>"Юбилейное"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69:43:0070106-69:43:0070110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367883"/>
                  </a:ext>
                </a:extLst>
              </a:tr>
              <a:tr h="25701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>
                          <a:effectLst/>
                        </a:rPr>
                        <a:t>14</a:t>
                      </a:r>
                      <a:endParaRPr lang="ru-RU" sz="1000" b="0" i="0" u="none" strike="noStrike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СНТ </a:t>
                      </a:r>
                      <a:r>
                        <a:rPr lang="ru-RU" sz="1000" u="none" strike="noStrike" dirty="0">
                          <a:effectLst/>
                        </a:rPr>
                        <a:t>"Никулинки"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u="none" strike="noStrike" dirty="0" smtClean="0">
                          <a:effectLst/>
                        </a:rPr>
                        <a:t>69:43:0070302, 69:43:0070303</a:t>
                      </a:r>
                      <a:endParaRPr lang="ru-RU" sz="1000" b="0" i="0" u="none" strike="noStrike" dirty="0" smtClean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3850603"/>
                  </a:ext>
                </a:extLst>
              </a:tr>
              <a:tr h="25701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>
                          <a:effectLst/>
                        </a:rPr>
                        <a:t>15</a:t>
                      </a:r>
                      <a:endParaRPr lang="ru-RU" sz="1000" b="0" i="0" u="none" strike="noStrike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СНТ </a:t>
                      </a:r>
                      <a:r>
                        <a:rPr lang="ru-RU" sz="1000" u="none" strike="noStrike" dirty="0">
                          <a:effectLst/>
                        </a:rPr>
                        <a:t>"Малиновка"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69:43:0070304-69:43:0070308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7801399"/>
                  </a:ext>
                </a:extLst>
              </a:tr>
              <a:tr h="16771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>
                          <a:effectLst/>
                        </a:rPr>
                        <a:t>16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СНТ </a:t>
                      </a:r>
                      <a:r>
                        <a:rPr lang="ru-RU" sz="1000" u="none" strike="noStrike" dirty="0">
                          <a:effectLst/>
                        </a:rPr>
                        <a:t>"Волга-3"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>
                          <a:effectLst/>
                        </a:rPr>
                        <a:t>69:43:0070212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901511"/>
                  </a:ext>
                </a:extLst>
              </a:tr>
              <a:tr h="16771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СНТ "Весна"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9:43:0070975, 69:43:007096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9715552"/>
                  </a:ext>
                </a:extLst>
              </a:tr>
            </a:tbl>
          </a:graphicData>
        </a:graphic>
      </p:graphicFrame>
      <p:sp>
        <p:nvSpPr>
          <p:cNvPr id="1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/>
          <a:p>
            <a:fld id="{2AEBC476-9252-C343-9FCE-489A77E2EA66}" type="slidenum">
              <a:rPr lang="ru-RU" smtClean="0"/>
              <a:pPr/>
              <a:t>8</a:t>
            </a:fld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1077717"/>
            <a:ext cx="3983124" cy="5415155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939934" y="734647"/>
            <a:ext cx="18233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tx2"/>
                </a:solidFill>
              </a:rPr>
              <a:t>город Конаково</a:t>
            </a:r>
            <a:endParaRPr lang="ru-RU" sz="1600" b="1" dirty="0">
              <a:solidFill>
                <a:schemeClr val="tx2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437120" y="2302625"/>
            <a:ext cx="4614606" cy="4190247"/>
          </a:xfrm>
          <a:prstGeom prst="rect">
            <a:avLst/>
          </a:prstGeom>
        </p:spPr>
      </p:pic>
      <p:graphicFrame>
        <p:nvGraphicFramePr>
          <p:cNvPr id="18" name="Таблица 17"/>
          <p:cNvGraphicFramePr>
            <a:graphicFrameLocks noGrp="1"/>
          </p:cNvGraphicFramePr>
          <p:nvPr>
            <p:extLst/>
          </p:nvPr>
        </p:nvGraphicFramePr>
        <p:xfrm>
          <a:off x="7477638" y="1073201"/>
          <a:ext cx="4574088" cy="1196174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1008252">
                  <a:extLst>
                    <a:ext uri="{9D8B030D-6E8A-4147-A177-3AD203B41FA5}">
                      <a16:colId xmlns:a16="http://schemas.microsoft.com/office/drawing/2014/main" val="3312005695"/>
                    </a:ext>
                  </a:extLst>
                </a:gridCol>
                <a:gridCol w="2293270">
                  <a:extLst>
                    <a:ext uri="{9D8B030D-6E8A-4147-A177-3AD203B41FA5}">
                      <a16:colId xmlns:a16="http://schemas.microsoft.com/office/drawing/2014/main" val="1787469972"/>
                    </a:ext>
                  </a:extLst>
                </a:gridCol>
                <a:gridCol w="1272566">
                  <a:extLst>
                    <a:ext uri="{9D8B030D-6E8A-4147-A177-3AD203B41FA5}">
                      <a16:colId xmlns:a16="http://schemas.microsoft.com/office/drawing/2014/main" val="2660742808"/>
                    </a:ext>
                  </a:extLst>
                </a:gridCol>
              </a:tblGrid>
              <a:tr h="246789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омер</a:t>
                      </a:r>
                      <a:endParaRPr lang="ru-RU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звание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артал</a:t>
                      </a:r>
                      <a:endParaRPr lang="ru-RU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9237790"/>
                  </a:ext>
                </a:extLst>
              </a:tr>
              <a:tr h="234490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СНТ «Козловский садовод» тер </a:t>
                      </a:r>
                      <a:r>
                        <a:rPr lang="ru-RU" sz="1000" u="none" strike="noStrike" dirty="0">
                          <a:effectLst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>
                          <a:effectLst/>
                        </a:rPr>
                        <a:t>69:15:0230122</a:t>
                      </a:r>
                      <a:endParaRPr lang="ru-RU" sz="1000" b="0" i="0" u="none" strike="noStrike" dirty="0">
                        <a:solidFill>
                          <a:srgbClr val="008C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826" marR="7826" marT="7826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0382551"/>
                  </a:ext>
                </a:extLst>
              </a:tr>
              <a:tr h="315883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т "Волжанка"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15:0132403, 404,405, 401, 402, 407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9798364"/>
                  </a:ext>
                </a:extLst>
              </a:tr>
              <a:tr h="216132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т "Волжанка"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15:0000017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19259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т "Яблонька"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15:0133001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1658507"/>
                  </a:ext>
                </a:extLst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7618959" y="782406"/>
            <a:ext cx="441749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tx2"/>
                </a:solidFill>
              </a:rPr>
              <a:t>пгт Козлово, пгт Радченко, дер. Алексино</a:t>
            </a:r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8653550" y="3362535"/>
            <a:ext cx="99753" cy="99753"/>
          </a:xfrm>
          <a:prstGeom prst="ellipse">
            <a:avLst/>
          </a:prstGeom>
          <a:solidFill>
            <a:srgbClr val="00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8447404" y="3023981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rgbClr val="0000FF"/>
                </a:solidFill>
              </a:rPr>
              <a:t>19</a:t>
            </a:r>
            <a:endParaRPr lang="ru-RU" sz="1600" dirty="0">
              <a:solidFill>
                <a:srgbClr val="0000FF"/>
              </a:solidFill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8653550" y="5368673"/>
            <a:ext cx="99753" cy="99753"/>
          </a:xfrm>
          <a:prstGeom prst="ellipse">
            <a:avLst/>
          </a:prstGeom>
          <a:solidFill>
            <a:srgbClr val="00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8447404" y="5030119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rgbClr val="0000FF"/>
                </a:solidFill>
              </a:rPr>
              <a:t>18</a:t>
            </a:r>
            <a:endParaRPr lang="ru-RU" sz="1600" dirty="0">
              <a:solidFill>
                <a:srgbClr val="0000FF"/>
              </a:solidFill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8921721" y="4026666"/>
            <a:ext cx="99753" cy="99753"/>
          </a:xfrm>
          <a:prstGeom prst="ellipse">
            <a:avLst/>
          </a:prstGeom>
          <a:solidFill>
            <a:srgbClr val="00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8715575" y="3688112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rgbClr val="0000FF"/>
                </a:solidFill>
              </a:rPr>
              <a:t>20</a:t>
            </a:r>
            <a:endParaRPr lang="ru-RU" sz="1600" dirty="0">
              <a:solidFill>
                <a:srgbClr val="0000FF"/>
              </a:solidFill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123815" y="6564345"/>
            <a:ext cx="423949" cy="0"/>
          </a:xfrm>
          <a:prstGeom prst="line">
            <a:avLst/>
          </a:prstGeom>
          <a:ln w="57150">
            <a:solidFill>
              <a:srgbClr val="66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72947" y="6363053"/>
            <a:ext cx="22903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- </a:t>
            </a:r>
            <a:r>
              <a:rPr lang="ru-RU" sz="1200" dirty="0" smtClean="0"/>
              <a:t>Магистральный газопровод</a:t>
            </a:r>
            <a:endParaRPr lang="ru-RU" sz="1200" dirty="0"/>
          </a:p>
        </p:txBody>
      </p:sp>
      <p:sp>
        <p:nvSpPr>
          <p:cNvPr id="19" name="Овал 18"/>
          <p:cNvSpPr/>
          <p:nvPr/>
        </p:nvSpPr>
        <p:spPr>
          <a:xfrm>
            <a:off x="8773563" y="3399286"/>
            <a:ext cx="99753" cy="99753"/>
          </a:xfrm>
          <a:prstGeom prst="ellipse">
            <a:avLst/>
          </a:prstGeom>
          <a:solidFill>
            <a:srgbClr val="00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8705591" y="3100181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rgbClr val="0000FF"/>
                </a:solidFill>
              </a:rPr>
              <a:t>21</a:t>
            </a:r>
            <a:endParaRPr lang="ru-RU" sz="1600" dirty="0">
              <a:solidFill>
                <a:srgbClr val="0000FF"/>
              </a:solidFill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1518379" y="5762142"/>
            <a:ext cx="99753" cy="99753"/>
          </a:xfrm>
          <a:prstGeom prst="ellipse">
            <a:avLst/>
          </a:prstGeom>
          <a:solidFill>
            <a:srgbClr val="00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/>
          <p:cNvSpPr txBox="1"/>
          <p:nvPr/>
        </p:nvSpPr>
        <p:spPr>
          <a:xfrm>
            <a:off x="1234694" y="5793631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0000FF"/>
                </a:solidFill>
              </a:rPr>
              <a:t>17</a:t>
            </a:r>
            <a:endParaRPr lang="ru-RU" sz="14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845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EBC476-9252-C343-9FCE-489A77E2EA66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ородской округ </a:t>
            </a:r>
            <a:r>
              <a:rPr lang="ru-RU" dirty="0" smtClean="0"/>
              <a:t>город Торжок</a:t>
            </a: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7365076" y="774190"/>
          <a:ext cx="4679520" cy="5792865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338473">
                  <a:extLst>
                    <a:ext uri="{9D8B030D-6E8A-4147-A177-3AD203B41FA5}">
                      <a16:colId xmlns:a16="http://schemas.microsoft.com/office/drawing/2014/main" val="3562056125"/>
                    </a:ext>
                  </a:extLst>
                </a:gridCol>
                <a:gridCol w="1821305">
                  <a:extLst>
                    <a:ext uri="{9D8B030D-6E8A-4147-A177-3AD203B41FA5}">
                      <a16:colId xmlns:a16="http://schemas.microsoft.com/office/drawing/2014/main" val="1787469972"/>
                    </a:ext>
                  </a:extLst>
                </a:gridCol>
                <a:gridCol w="2519742">
                  <a:extLst>
                    <a:ext uri="{9D8B030D-6E8A-4147-A177-3AD203B41FA5}">
                      <a16:colId xmlns:a16="http://schemas.microsoft.com/office/drawing/2014/main" val="2660742808"/>
                    </a:ext>
                  </a:extLst>
                </a:gridCol>
              </a:tblGrid>
              <a:tr h="2409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</a:t>
                      </a:r>
                      <a:endParaRPr lang="ru-RU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звание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артал</a:t>
                      </a:r>
                      <a:endParaRPr lang="ru-RU" sz="14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9237790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 dirty="0">
                          <a:effectLst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Вагонник-1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003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2511655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 dirty="0">
                          <a:effectLst/>
                        </a:rPr>
                        <a:t>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Вагонник-2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003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0382551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>
                          <a:effectLst/>
                        </a:rPr>
                        <a:t>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Вагонник-3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003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2611411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>
                          <a:effectLst/>
                        </a:rPr>
                        <a:t>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Вагонник-4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00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9535003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 dirty="0">
                          <a:effectLst/>
                        </a:rPr>
                        <a:t>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ГЖУ-3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003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9288136"/>
                  </a:ext>
                </a:extLst>
              </a:tr>
              <a:tr h="341757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 dirty="0">
                          <a:effectLst/>
                        </a:rPr>
                        <a:t>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Железнодорожник-1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701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262044"/>
                  </a:ext>
                </a:extLst>
              </a:tr>
              <a:tr h="341757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>
                          <a:effectLst/>
                        </a:rPr>
                        <a:t>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Железнодорожник-2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70111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4097695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>
                          <a:effectLst/>
                        </a:rPr>
                        <a:t>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Кожевник-1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0901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3215645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>
                          <a:effectLst/>
                        </a:rPr>
                        <a:t>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Кожевник-2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502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0767990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>
                          <a:effectLst/>
                        </a:rPr>
                        <a:t>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Кожевник-3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701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3036447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>
                          <a:effectLst/>
                        </a:rPr>
                        <a:t>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Коммунальник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0902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7719628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>
                          <a:effectLst/>
                        </a:rPr>
                        <a:t>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Коммунальник-2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090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3208108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>
                          <a:effectLst/>
                        </a:rPr>
                        <a:t>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kern="1200" dirty="0">
                          <a:effectLst/>
                        </a:rPr>
                        <a:t>ст «Марс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0902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4016873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>
                          <a:effectLst/>
                        </a:rPr>
                        <a:t>1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kern="1200" dirty="0">
                          <a:effectLst/>
                        </a:rPr>
                        <a:t>ст «Машиностроитель-1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0804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454029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>
                          <a:effectLst/>
                        </a:rPr>
                        <a:t>1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kern="1200" dirty="0" smtClean="0">
                          <a:effectLst/>
                        </a:rPr>
                        <a:t>ст </a:t>
                      </a:r>
                      <a:r>
                        <a:rPr lang="ru-RU" sz="1000" u="none" strike="noStrike" kern="1200" dirty="0">
                          <a:effectLst/>
                        </a:rPr>
                        <a:t>«Машиностроитель-5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0803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09725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 dirty="0">
                          <a:effectLst/>
                        </a:rPr>
                        <a:t>1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Механический-1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003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2840746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 dirty="0">
                          <a:effectLst/>
                        </a:rPr>
                        <a:t>1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Механический-2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003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906304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>
                          <a:effectLst/>
                        </a:rPr>
                        <a:t>1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Обувщик-1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70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567574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 dirty="0">
                          <a:effectLst/>
                        </a:rPr>
                        <a:t>1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Обувщик-2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701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8578930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 dirty="0">
                          <a:effectLst/>
                        </a:rPr>
                        <a:t>2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Полиграфист-1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70101,69:47:0170102,69:47:0170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9025474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 dirty="0">
                          <a:effectLst/>
                        </a:rPr>
                        <a:t>2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kern="1200" dirty="0">
                          <a:effectLst/>
                        </a:rPr>
                        <a:t>ст «Радуга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40104</a:t>
                      </a:r>
                      <a:endParaRPr lang="ru-RU" sz="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5665628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 dirty="0">
                          <a:effectLst/>
                        </a:rPr>
                        <a:t>2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Связист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502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633579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 dirty="0" smtClean="0">
                          <a:effectLst/>
                        </a:rPr>
                        <a:t>2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kern="1200" dirty="0">
                          <a:effectLst/>
                        </a:rPr>
                        <a:t>ст «Строитель-1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70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2428839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 dirty="0" smtClean="0">
                          <a:effectLst/>
                        </a:rPr>
                        <a:t>2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Транспортник-1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0801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4386830"/>
                  </a:ext>
                </a:extLst>
              </a:tr>
              <a:tr h="19800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 dirty="0" smtClean="0">
                          <a:effectLst/>
                        </a:rPr>
                        <a:t>2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Транспортник-2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0801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4869456"/>
                  </a:ext>
                </a:extLst>
              </a:tr>
              <a:tr h="250318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000" u="none" strike="noStrike" dirty="0" smtClean="0">
                          <a:effectLst/>
                        </a:rPr>
                        <a:t>2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554" marR="7554" marT="7554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1000" u="none" strike="noStrike" dirty="0" smtClean="0">
                          <a:effectLst/>
                        </a:rPr>
                        <a:t>СНТ</a:t>
                      </a:r>
                      <a:r>
                        <a:rPr lang="ru-RU" sz="1000" u="none" strike="noStrike" kern="1200" dirty="0" smtClean="0">
                          <a:effectLst/>
                        </a:rPr>
                        <a:t> </a:t>
                      </a:r>
                      <a:r>
                        <a:rPr lang="ru-RU" sz="1000" u="none" strike="noStrike" kern="1200" dirty="0">
                          <a:effectLst/>
                        </a:rPr>
                        <a:t>«Хлебоприемное предприятие»</a:t>
                      </a:r>
                      <a:endParaRPr lang="ru-RU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32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9:47:0100309,69:47:01003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7257345"/>
                  </a:ext>
                </a:extLst>
              </a:tr>
            </a:tbl>
          </a:graphicData>
        </a:graphic>
      </p:graphicFrame>
      <p:sp>
        <p:nvSpPr>
          <p:cNvPr id="7" name="Овал 6"/>
          <p:cNvSpPr/>
          <p:nvPr/>
        </p:nvSpPr>
        <p:spPr>
          <a:xfrm>
            <a:off x="4414059" y="5527964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4290468" y="5261014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6</a:t>
            </a:r>
            <a:endParaRPr lang="ru-RU" sz="1600" b="1" dirty="0"/>
          </a:p>
        </p:txBody>
      </p:sp>
      <p:sp>
        <p:nvSpPr>
          <p:cNvPr id="9" name="Овал 8"/>
          <p:cNvSpPr/>
          <p:nvPr/>
        </p:nvSpPr>
        <p:spPr>
          <a:xfrm>
            <a:off x="3743498" y="3054446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2087884" y="3746461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8</a:t>
            </a:r>
            <a:endParaRPr lang="ru-RU" sz="1600" b="1" dirty="0"/>
          </a:p>
        </p:txBody>
      </p:sp>
      <p:sp>
        <p:nvSpPr>
          <p:cNvPr id="11" name="Овал 10"/>
          <p:cNvSpPr/>
          <p:nvPr/>
        </p:nvSpPr>
        <p:spPr>
          <a:xfrm>
            <a:off x="3812771" y="3164378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3515027" y="2926147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5</a:t>
            </a:r>
            <a:endParaRPr lang="ru-RU" sz="1600" b="1" dirty="0"/>
          </a:p>
        </p:txBody>
      </p:sp>
      <p:sp>
        <p:nvSpPr>
          <p:cNvPr id="13" name="Овал 12"/>
          <p:cNvSpPr/>
          <p:nvPr/>
        </p:nvSpPr>
        <p:spPr>
          <a:xfrm>
            <a:off x="3848793" y="2982285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3834938" y="3049574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</a:t>
            </a:r>
            <a:endParaRPr lang="ru-RU" sz="1600" b="1" dirty="0"/>
          </a:p>
        </p:txBody>
      </p:sp>
      <p:sp>
        <p:nvSpPr>
          <p:cNvPr id="15" name="Овал 14"/>
          <p:cNvSpPr/>
          <p:nvPr/>
        </p:nvSpPr>
        <p:spPr>
          <a:xfrm>
            <a:off x="3848793" y="284314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3902450" y="2879150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</a:t>
            </a:r>
            <a:endParaRPr lang="ru-RU" sz="16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3895162" y="2723693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3</a:t>
            </a:r>
            <a:endParaRPr lang="ru-RU" sz="1600" b="1" dirty="0"/>
          </a:p>
        </p:txBody>
      </p:sp>
      <p:sp>
        <p:nvSpPr>
          <p:cNvPr id="18" name="Овал 17"/>
          <p:cNvSpPr/>
          <p:nvPr/>
        </p:nvSpPr>
        <p:spPr>
          <a:xfrm>
            <a:off x="3874467" y="2687170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3937462" y="2576035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4</a:t>
            </a:r>
            <a:endParaRPr lang="ru-RU" sz="1600" b="1" dirty="0"/>
          </a:p>
        </p:txBody>
      </p:sp>
      <p:sp>
        <p:nvSpPr>
          <p:cNvPr id="20" name="Овал 19"/>
          <p:cNvSpPr/>
          <p:nvPr/>
        </p:nvSpPr>
        <p:spPr>
          <a:xfrm>
            <a:off x="4414059" y="5652655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4176126" y="5590309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7</a:t>
            </a:r>
            <a:endParaRPr lang="ru-RU" sz="1600" b="1" dirty="0"/>
          </a:p>
        </p:txBody>
      </p:sp>
      <p:sp>
        <p:nvSpPr>
          <p:cNvPr id="23" name="Овал 22"/>
          <p:cNvSpPr/>
          <p:nvPr/>
        </p:nvSpPr>
        <p:spPr>
          <a:xfrm>
            <a:off x="2174779" y="4022670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/>
          <p:cNvSpPr/>
          <p:nvPr/>
        </p:nvSpPr>
        <p:spPr>
          <a:xfrm>
            <a:off x="2473038" y="3684115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/>
          <p:cNvSpPr/>
          <p:nvPr/>
        </p:nvSpPr>
        <p:spPr>
          <a:xfrm>
            <a:off x="1285619" y="3226723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/>
          <p:cNvSpPr/>
          <p:nvPr/>
        </p:nvSpPr>
        <p:spPr>
          <a:xfrm>
            <a:off x="1377059" y="3325782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/>
          <p:cNvSpPr/>
          <p:nvPr/>
        </p:nvSpPr>
        <p:spPr>
          <a:xfrm>
            <a:off x="1091001" y="3853392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Овал 27"/>
          <p:cNvSpPr/>
          <p:nvPr/>
        </p:nvSpPr>
        <p:spPr>
          <a:xfrm>
            <a:off x="4392494" y="2639374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Овал 28"/>
          <p:cNvSpPr/>
          <p:nvPr/>
        </p:nvSpPr>
        <p:spPr>
          <a:xfrm>
            <a:off x="4813375" y="2198814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Овал 29"/>
          <p:cNvSpPr/>
          <p:nvPr/>
        </p:nvSpPr>
        <p:spPr>
          <a:xfrm>
            <a:off x="3979446" y="251681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Овал 31"/>
          <p:cNvSpPr/>
          <p:nvPr/>
        </p:nvSpPr>
        <p:spPr>
          <a:xfrm>
            <a:off x="4549945" y="5599569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TextBox 32"/>
          <p:cNvSpPr txBox="1"/>
          <p:nvPr/>
        </p:nvSpPr>
        <p:spPr>
          <a:xfrm>
            <a:off x="2386364" y="3407906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9</a:t>
            </a:r>
            <a:endParaRPr lang="ru-RU" sz="16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4516280" y="5348457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0</a:t>
            </a:r>
            <a:endParaRPr lang="ru-RU" sz="16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1433215" y="3226723"/>
            <a:ext cx="4009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1</a:t>
            </a:r>
            <a:endParaRPr lang="ru-RU" sz="16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1153347" y="2888168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2</a:t>
            </a:r>
            <a:endParaRPr lang="ru-RU" sz="16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1101894" y="3684116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3</a:t>
            </a:r>
            <a:endParaRPr lang="ru-RU" sz="16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4247589" y="2371738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4</a:t>
            </a:r>
            <a:endParaRPr lang="ru-RU" sz="16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4667687" y="1927263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5</a:t>
            </a:r>
            <a:endParaRPr lang="ru-RU" sz="16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3699669" y="2232316"/>
            <a:ext cx="7088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6,17</a:t>
            </a:r>
            <a:endParaRPr lang="ru-RU" sz="1600" b="1" dirty="0"/>
          </a:p>
        </p:txBody>
      </p:sp>
      <p:sp>
        <p:nvSpPr>
          <p:cNvPr id="41" name="Овал 40"/>
          <p:cNvSpPr/>
          <p:nvPr/>
        </p:nvSpPr>
        <p:spPr>
          <a:xfrm>
            <a:off x="4502494" y="5853025"/>
            <a:ext cx="96054" cy="9938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Овал 42"/>
          <p:cNvSpPr/>
          <p:nvPr/>
        </p:nvSpPr>
        <p:spPr>
          <a:xfrm>
            <a:off x="2411121" y="3746460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Овал 43"/>
          <p:cNvSpPr/>
          <p:nvPr/>
        </p:nvSpPr>
        <p:spPr>
          <a:xfrm>
            <a:off x="4504169" y="542971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Овал 44"/>
          <p:cNvSpPr/>
          <p:nvPr/>
        </p:nvSpPr>
        <p:spPr>
          <a:xfrm>
            <a:off x="5017633" y="281186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Овал 45"/>
          <p:cNvSpPr/>
          <p:nvPr/>
        </p:nvSpPr>
        <p:spPr>
          <a:xfrm>
            <a:off x="4888099" y="284314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Овал 46"/>
          <p:cNvSpPr/>
          <p:nvPr/>
        </p:nvSpPr>
        <p:spPr>
          <a:xfrm>
            <a:off x="3741783" y="2871939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TextBox 47"/>
          <p:cNvSpPr txBox="1"/>
          <p:nvPr/>
        </p:nvSpPr>
        <p:spPr>
          <a:xfrm>
            <a:off x="2123091" y="3496260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2</a:t>
            </a:r>
            <a:endParaRPr lang="ru-RU" sz="1600" b="1" dirty="0"/>
          </a:p>
        </p:txBody>
      </p:sp>
      <p:sp>
        <p:nvSpPr>
          <p:cNvPr id="49" name="TextBox 48"/>
          <p:cNvSpPr txBox="1"/>
          <p:nvPr/>
        </p:nvSpPr>
        <p:spPr>
          <a:xfrm>
            <a:off x="4503289" y="5697241"/>
            <a:ext cx="7088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18-20</a:t>
            </a:r>
            <a:endParaRPr lang="ru-RU" sz="1600" b="1" dirty="0"/>
          </a:p>
        </p:txBody>
      </p:sp>
      <p:sp>
        <p:nvSpPr>
          <p:cNvPr id="50" name="TextBox 49"/>
          <p:cNvSpPr txBox="1"/>
          <p:nvPr/>
        </p:nvSpPr>
        <p:spPr>
          <a:xfrm>
            <a:off x="4450378" y="5129577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3</a:t>
            </a:r>
            <a:endParaRPr lang="ru-RU" sz="1600" b="1" dirty="0"/>
          </a:p>
        </p:txBody>
      </p:sp>
      <p:sp>
        <p:nvSpPr>
          <p:cNvPr id="51" name="TextBox 50"/>
          <p:cNvSpPr txBox="1"/>
          <p:nvPr/>
        </p:nvSpPr>
        <p:spPr>
          <a:xfrm>
            <a:off x="4611065" y="2587593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2</a:t>
            </a:r>
            <a:r>
              <a:rPr lang="ru-RU" sz="1600" b="1" dirty="0" smtClean="0"/>
              <a:t>5</a:t>
            </a:r>
            <a:endParaRPr lang="ru-RU" sz="1600" b="1" dirty="0"/>
          </a:p>
        </p:txBody>
      </p:sp>
      <p:sp>
        <p:nvSpPr>
          <p:cNvPr id="52" name="TextBox 51"/>
          <p:cNvSpPr txBox="1"/>
          <p:nvPr/>
        </p:nvSpPr>
        <p:spPr>
          <a:xfrm>
            <a:off x="4873992" y="2532442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4</a:t>
            </a:r>
            <a:endParaRPr lang="ru-RU" sz="1600" b="1" dirty="0"/>
          </a:p>
        </p:txBody>
      </p:sp>
      <p:sp>
        <p:nvSpPr>
          <p:cNvPr id="53" name="TextBox 52"/>
          <p:cNvSpPr txBox="1"/>
          <p:nvPr/>
        </p:nvSpPr>
        <p:spPr>
          <a:xfrm>
            <a:off x="3425293" y="2656054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6</a:t>
            </a:r>
            <a:endParaRPr lang="ru-RU" sz="1600" b="1" dirty="0"/>
          </a:p>
        </p:txBody>
      </p:sp>
      <p:sp>
        <p:nvSpPr>
          <p:cNvPr id="54" name="Овал 53"/>
          <p:cNvSpPr/>
          <p:nvPr/>
        </p:nvSpPr>
        <p:spPr>
          <a:xfrm>
            <a:off x="3267375" y="3384661"/>
            <a:ext cx="124691" cy="12469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TextBox 54"/>
          <p:cNvSpPr txBox="1"/>
          <p:nvPr/>
        </p:nvSpPr>
        <p:spPr>
          <a:xfrm>
            <a:off x="3104892" y="3106976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/>
              <a:t>21</a:t>
            </a:r>
            <a:endParaRPr lang="ru-RU" sz="1600" b="1" dirty="0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4826535" y="1163169"/>
            <a:ext cx="61564" cy="306618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 flipV="1">
            <a:off x="4938066" y="1367658"/>
            <a:ext cx="141912" cy="58657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/>
        </p:nvCxnSpPr>
        <p:spPr>
          <a:xfrm flipH="1">
            <a:off x="5017633" y="1429382"/>
            <a:ext cx="68925" cy="408024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/>
        </p:nvCxnSpPr>
        <p:spPr>
          <a:xfrm>
            <a:off x="5049529" y="1765798"/>
            <a:ext cx="92795" cy="466518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5113590" y="2091882"/>
            <a:ext cx="98547" cy="185020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5185507" y="2232316"/>
            <a:ext cx="153642" cy="5226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5382332" y="2202258"/>
            <a:ext cx="232652" cy="732026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/>
        </p:nvCxnSpPr>
        <p:spPr>
          <a:xfrm>
            <a:off x="5710526" y="2895939"/>
            <a:ext cx="169779" cy="71893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>
            <a:off x="5893870" y="3005287"/>
            <a:ext cx="84688" cy="160638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 flipH="1">
            <a:off x="5614818" y="3195934"/>
            <a:ext cx="362429" cy="719803"/>
          </a:xfrm>
          <a:prstGeom prst="line">
            <a:avLst/>
          </a:prstGeom>
          <a:ln w="762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2" cstate="print"/>
          <a:srcRect l="19122" t="25088" r="34825" b="11910"/>
          <a:stretch/>
        </p:blipFill>
        <p:spPr>
          <a:xfrm>
            <a:off x="187052" y="900814"/>
            <a:ext cx="7025234" cy="5592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652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2.xml><?xml version="1.0" encoding="utf-8"?>
<a:theme xmlns:a="http://schemas.openxmlformats.org/drawingml/2006/main" name="5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3.xml><?xml version="1.0" encoding="utf-8"?>
<a:theme xmlns:a="http://schemas.openxmlformats.org/drawingml/2006/main" name="6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4.xml><?xml version="1.0" encoding="utf-8"?>
<a:theme xmlns:a="http://schemas.openxmlformats.org/drawingml/2006/main" name="7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5.xml><?xml version="1.0" encoding="utf-8"?>
<a:theme xmlns:a="http://schemas.openxmlformats.org/drawingml/2006/main" name="Шаблон">
  <a:themeElements>
    <a:clrScheme name="Другая 1">
      <a:dk1>
        <a:srgbClr val="000000"/>
      </a:dk1>
      <a:lt1>
        <a:srgbClr val="FFFFFF"/>
      </a:lt1>
      <a:dk2>
        <a:srgbClr val="008CFF"/>
      </a:dk2>
      <a:lt2>
        <a:srgbClr val="ECF3FA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4AFFC3"/>
      </a:accent5>
      <a:accent6>
        <a:srgbClr val="FFC000"/>
      </a:accent6>
      <a:hlink>
        <a:srgbClr val="E17900"/>
      </a:hlink>
      <a:folHlink>
        <a:srgbClr val="4C4D4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8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7.xml><?xml version="1.0" encoding="utf-8"?>
<a:theme xmlns:a="http://schemas.openxmlformats.org/drawingml/2006/main" name="9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8.xml><?xml version="1.0" encoding="utf-8"?>
<a:theme xmlns:a="http://schemas.openxmlformats.org/drawingml/2006/main" name="10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Госдума Сборка 27.06 версия 3 15-22 [Autosaved]</Template>
  <TotalTime>10770</TotalTime>
  <Words>2088</Words>
  <Application>Microsoft Office PowerPoint</Application>
  <PresentationFormat>Широкоэкранный</PresentationFormat>
  <Paragraphs>870</Paragraphs>
  <Slides>1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0" baseType="lpstr">
      <vt:lpstr>Arial</vt:lpstr>
      <vt:lpstr>Arial Narrow</vt:lpstr>
      <vt:lpstr>Calibri</vt:lpstr>
      <vt:lpstr>Inter</vt:lpstr>
      <vt:lpstr>Times New Roman</vt:lpstr>
      <vt:lpstr>Trebuchet MS</vt:lpstr>
      <vt:lpstr>4_Шаблон</vt:lpstr>
      <vt:lpstr>5_Шаблон</vt:lpstr>
      <vt:lpstr>6_Шаблон</vt:lpstr>
      <vt:lpstr>7_Шаблон</vt:lpstr>
      <vt:lpstr>Шаблон</vt:lpstr>
      <vt:lpstr>8_Шаблон</vt:lpstr>
      <vt:lpstr>9_Шаблон</vt:lpstr>
      <vt:lpstr>10_Шаблон</vt:lpstr>
      <vt:lpstr>think-cell Slide</vt:lpstr>
      <vt:lpstr> Перечень садоводческих некоммерческих товариществ, расположенных в границах населенных пунктов Тверской области </vt:lpstr>
      <vt:lpstr>Бологовский муниципальный округ</vt:lpstr>
      <vt:lpstr>Калининский муниципальный округ</vt:lpstr>
      <vt:lpstr>Городской округ город Тверь (частично газифицированные снт)</vt:lpstr>
      <vt:lpstr>Городской округ город Тверь (негазифицированные снт)</vt:lpstr>
      <vt:lpstr>Кимрский муниципальный округ</vt:lpstr>
      <vt:lpstr>Ржевский муниципальный округ</vt:lpstr>
      <vt:lpstr>Конаковский муниципальный округ</vt:lpstr>
      <vt:lpstr>Городской округ город Торжок</vt:lpstr>
      <vt:lpstr>Лихославльский муниципальный округ</vt:lpstr>
      <vt:lpstr>поселок Калашниково</vt:lpstr>
      <vt:lpstr>Вышневолоцкий муниципальный округ</vt:lpstr>
      <vt:lpstr>Осташковский городской округ</vt:lpstr>
      <vt:lpstr>Калязинский муниципальный округ</vt:lpstr>
      <vt:lpstr>Спасибо за внимание!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ddddd</dc:creator>
  <cp:lastModifiedBy>tma</cp:lastModifiedBy>
  <cp:revision>605</cp:revision>
  <cp:lastPrinted>2024-04-24T14:45:14Z</cp:lastPrinted>
  <dcterms:created xsi:type="dcterms:W3CDTF">2023-06-29T12:06:41Z</dcterms:created>
  <dcterms:modified xsi:type="dcterms:W3CDTF">2024-07-08T09:29:15Z</dcterms:modified>
</cp:coreProperties>
</file>